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25"/>
  </p:notesMasterIdLst>
  <p:handoutMasterIdLst>
    <p:handoutMasterId r:id="rId26"/>
  </p:handoutMasterIdLst>
  <p:sldIdLst>
    <p:sldId id="3018" r:id="rId5"/>
    <p:sldId id="2984" r:id="rId6"/>
    <p:sldId id="3014" r:id="rId7"/>
    <p:sldId id="3019" r:id="rId8"/>
    <p:sldId id="2991" r:id="rId9"/>
    <p:sldId id="3021" r:id="rId10"/>
    <p:sldId id="3024" r:id="rId11"/>
    <p:sldId id="3020" r:id="rId12"/>
    <p:sldId id="3023" r:id="rId13"/>
    <p:sldId id="3022" r:id="rId14"/>
    <p:sldId id="3026" r:id="rId15"/>
    <p:sldId id="3025" r:id="rId16"/>
    <p:sldId id="3031" r:id="rId17"/>
    <p:sldId id="3029" r:id="rId18"/>
    <p:sldId id="3032" r:id="rId19"/>
    <p:sldId id="3027" r:id="rId20"/>
    <p:sldId id="3028" r:id="rId21"/>
    <p:sldId id="3030" r:id="rId22"/>
    <p:sldId id="2997" r:id="rId23"/>
    <p:sldId id="3004" r:id="rId24"/>
  </p:sldIdLst>
  <p:sldSz cx="12192000" cy="6858000"/>
  <p:notesSz cx="6858000" cy="9144000"/>
  <p:custDataLst>
    <p:tags r:id="rId27"/>
  </p:custDataLst>
  <p:defaultTextStyle>
    <a:defPPr>
      <a:defRPr lang="de-DE"/>
    </a:defPPr>
    <a:lvl1pPr marL="0" algn="l" defTabSz="914377" rtl="0" eaLnBrk="1" latinLnBrk="0" hangingPunct="1">
      <a:defRPr sz="1867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867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867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867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867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867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867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867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867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Michaela Kapalla" initials="MK" lastIdx="2" clrIdx="6">
    <p:extLst>
      <p:ext uri="{19B8F6BF-5375-455C-9EA6-DF929625EA0E}">
        <p15:presenceInfo xmlns:p15="http://schemas.microsoft.com/office/powerpoint/2012/main" userId="Michaela Kapalla" providerId="None"/>
      </p:ext>
    </p:extLst>
  </p:cmAuthor>
  <p:cmAuthor id="1" name="Laura Haink" initials="LH" lastIdx="20" clrIdx="0"/>
  <p:cmAuthor id="2" name="Timo Glosemeyer" initials="TG" lastIdx="37" clrIdx="1"/>
  <p:cmAuthor id="3" name="Anna Juettner" initials="AJ" lastIdx="2" clrIdx="2"/>
  <p:cmAuthor id="4" name="Cem Kadim" initials="CK" lastIdx="4" clrIdx="3">
    <p:extLst>
      <p:ext uri="{19B8F6BF-5375-455C-9EA6-DF929625EA0E}">
        <p15:presenceInfo xmlns:p15="http://schemas.microsoft.com/office/powerpoint/2012/main" userId="S-1-5-21-2900290652-3162160026-1438150922-1732" providerId="AD"/>
      </p:ext>
    </p:extLst>
  </p:cmAuthor>
  <p:cmAuthor id="5" name="Kayser, Pierre" initials="KP" lastIdx="11" clrIdx="4">
    <p:extLst>
      <p:ext uri="{19B8F6BF-5375-455C-9EA6-DF929625EA0E}">
        <p15:presenceInfo xmlns:p15="http://schemas.microsoft.com/office/powerpoint/2012/main" userId="S-1-5-21-789336058-1078081533-1417001333-3947455" providerId="AD"/>
      </p:ext>
    </p:extLst>
  </p:cmAuthor>
  <p:cmAuthor id="6" name="Larissa Eisele" initials="LE" lastIdx="21" clrIdx="5">
    <p:extLst>
      <p:ext uri="{19B8F6BF-5375-455C-9EA6-DF929625EA0E}">
        <p15:presenceInfo xmlns:p15="http://schemas.microsoft.com/office/powerpoint/2012/main" userId="S::larissa.eisele@mail.schwarz::508a5cf6-1395-4b98-b943-efdd03f5eae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D3746"/>
    <a:srgbClr val="0A202F"/>
    <a:srgbClr val="2626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2D5ABB26-0587-4C30-8999-92F81FD0307D}">
  <a:tblStyle styleId="{2D5ABB26-0587-4C30-8999-92F81FD0307D}" styleName="Schwarz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a:bottom>
          <a:insideH>
            <a:ln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>
        <a:fontRef idx="major">
          <a:prstClr val="black"/>
        </a:fontRef>
        <a:schemeClr val="tx1"/>
      </a:tcTxStyle>
      <a:tcStyle>
        <a:tcBdr/>
      </a:tcStyle>
    </a:lastCol>
    <a:firstCol>
      <a:tcTxStyle b="on">
        <a:fontRef idx="major">
          <a:prstClr val="black"/>
        </a:fontRef>
        <a:schemeClr val="tx1"/>
      </a:tcTxStyle>
      <a:tcStyle>
        <a:tcBdr/>
      </a:tcStyle>
    </a:firstCol>
    <a:lastRow>
      <a:tcTxStyle b="on">
        <a:fontRef idx="major">
          <a:prstClr val="black"/>
        </a:fontRef>
        <a:schemeClr val="tx1"/>
      </a:tcTxStyle>
      <a:tcStyle>
        <a:tcBdr>
          <a:top>
            <a:ln w="9525" cmpd="sng">
              <a:solidFill>
                <a:schemeClr val="tx1"/>
              </a:solidFill>
            </a:ln>
          </a:top>
          <a:bottom>
            <a:ln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a:bottom>
        </a:tcBdr>
      </a:tcStyle>
    </a:lastRow>
    <a:firstRow>
      <a:tcTxStyle b="on">
        <a:fontRef idx="major">
          <a:prstClr val="black"/>
        </a:fontRef>
        <a:schemeClr val="accent1"/>
      </a:tcTxStyle>
      <a:tcStyle>
        <a:tcBdr>
          <a:bottom>
            <a:ln w="1405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ittlere Formatvorlage 1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321"/>
    <p:restoredTop sz="94673"/>
  </p:normalViewPr>
  <p:slideViewPr>
    <p:cSldViewPr snapToGrid="0">
      <p:cViewPr>
        <p:scale>
          <a:sx n="125" d="100"/>
          <a:sy n="125" d="100"/>
        </p:scale>
        <p:origin x="792" y="50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2E4C84BB-FBE9-492A-89D6-4BA9F7A41E28}"/>
              </a:ext>
            </a:extLst>
          </p:cNvPr>
          <p:cNvSpPr/>
          <p:nvPr userDrawn="1"/>
        </p:nvSpPr>
        <p:spPr bwMode="gray">
          <a:xfrm>
            <a:off x="479424" y="0"/>
            <a:ext cx="645320" cy="89959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err="1">
              <a:solidFill>
                <a:schemeClr val="tx1"/>
              </a:solidFill>
            </a:endParaRPr>
          </a:p>
        </p:txBody>
      </p:sp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3573016" y="251520"/>
            <a:ext cx="2810322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200"/>
            </a:lvl1pPr>
          </a:lstStyle>
          <a:p>
            <a:endParaRPr lang="de-DE" sz="1000"/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"/>
          </p:nvPr>
        </p:nvSpPr>
        <p:spPr bwMode="gray">
          <a:xfrm>
            <a:off x="836792" y="8748480"/>
            <a:ext cx="720000" cy="14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08699AC5-454E-3842-8467-A5CAB7AAADF3}" type="datetime1">
              <a:rPr lang="de-DE" sz="800" smtClean="0"/>
              <a:t>19.12.24</a:t>
            </a:fld>
            <a:endParaRPr lang="de-DE" sz="80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2"/>
          </p:nvPr>
        </p:nvSpPr>
        <p:spPr bwMode="gray">
          <a:xfrm>
            <a:off x="1629152" y="8748480"/>
            <a:ext cx="4754186" cy="14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de-DE" sz="800"/>
              <a:t>Titel der Präsentation</a:t>
            </a: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3"/>
          </p:nvPr>
        </p:nvSpPr>
        <p:spPr bwMode="gray">
          <a:xfrm>
            <a:off x="477056" y="8748480"/>
            <a:ext cx="287648" cy="14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8FF9B0DE-3FEB-4AA0-B465-B80EF7C1333D}" type="slidenum">
              <a:rPr lang="de-DE" sz="800" smtClean="0"/>
              <a:pPr/>
              <a:t>‹#›</a:t>
            </a:fld>
            <a:endParaRPr lang="de-DE" sz="80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659F10D2-CC0B-46BF-BD82-296222E249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3022" y="129502"/>
            <a:ext cx="641722" cy="793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3861194"/>
      </p:ext>
    </p:extLst>
  </p:cSld>
  <p:clrMap bg1="lt1" tx1="dk1" bg2="lt2" tx2="dk2" accent1="accent1" accent2="accent2" accent3="accent3" accent4="accent4" accent5="accent5" accent6="accent6" hlink="hlink" folHlink="folHlink"/>
  <p:hf hdr="0"/>
  <p:extLst>
    <p:ext uri="{56416CCD-93CA-4268-BC5B-53C4BB910035}">
      <p15:sldGuideLst xmlns:p15="http://schemas.microsoft.com/office/powerpoint/2012/main">
        <p15:guide id="1" pos="302" userDrawn="1">
          <p15:clr>
            <a:srgbClr val="F26B43"/>
          </p15:clr>
        </p15:guide>
        <p15:guide id="2" pos="4021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79673" y="251520"/>
            <a:ext cx="3200400" cy="1800225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76672" y="2411760"/>
            <a:ext cx="5904000" cy="5832192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3861048" y="251520"/>
            <a:ext cx="2534742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endParaRPr lang="de-DE" sz="1000"/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1"/>
          </p:nvPr>
        </p:nvSpPr>
        <p:spPr bwMode="gray">
          <a:xfrm>
            <a:off x="836792" y="8748480"/>
            <a:ext cx="720000" cy="14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39D8FE6C-32A7-B947-872E-5C3918F6D854}" type="datetime1">
              <a:rPr lang="de-DE" smtClean="0"/>
              <a:t>19.12.24</a:t>
            </a:fld>
            <a:endParaRPr lang="de-DE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4"/>
          </p:nvPr>
        </p:nvSpPr>
        <p:spPr bwMode="gray">
          <a:xfrm>
            <a:off x="1629152" y="8748480"/>
            <a:ext cx="4754186" cy="14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5"/>
          </p:nvPr>
        </p:nvSpPr>
        <p:spPr bwMode="gray">
          <a:xfrm>
            <a:off x="477056" y="8748480"/>
            <a:ext cx="287648" cy="14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8FF9B0DE-3FEB-4AA0-B465-B80EF7C1333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619873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377" rtl="0" eaLnBrk="1" latinLnBrk="0" hangingPunct="1">
      <a:lnSpc>
        <a:spcPct val="110000"/>
      </a:lnSpc>
      <a:spcBef>
        <a:spcPts val="1200"/>
      </a:spcBef>
      <a:defRPr sz="1100" b="1" i="0" kern="1200">
        <a:solidFill>
          <a:schemeClr val="accent1"/>
        </a:solidFill>
        <a:latin typeface="+mj-lt"/>
        <a:ea typeface="+mn-ea"/>
        <a:cs typeface="+mn-cs"/>
      </a:defRPr>
    </a:lvl1pPr>
    <a:lvl2pPr marL="0" algn="l" defTabSz="914377" rtl="0" eaLnBrk="1" latinLnBrk="0" hangingPunct="1">
      <a:lnSpc>
        <a:spcPct val="110000"/>
      </a:lnSpc>
      <a:spcBef>
        <a:spcPts val="400"/>
      </a:spcBef>
      <a:spcAft>
        <a:spcPts val="400"/>
      </a:spcAft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143996" indent="-143996" algn="l" defTabSz="914377" rtl="0" eaLnBrk="1" latinLnBrk="0" hangingPunct="1">
      <a:lnSpc>
        <a:spcPct val="110000"/>
      </a:lnSpc>
      <a:spcBef>
        <a:spcPts val="100"/>
      </a:spcBef>
      <a:spcAft>
        <a:spcPts val="100"/>
      </a:spcAft>
      <a:buClr>
        <a:schemeClr val="accent1"/>
      </a:buClr>
      <a:buFont typeface="Wingdings" panose="05000000000000000000" pitchFamily="2" charset="2"/>
      <a:buChar char="§"/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287993" indent="-143996" algn="l" defTabSz="914377" rtl="0" eaLnBrk="1" latinLnBrk="0" hangingPunct="1">
      <a:lnSpc>
        <a:spcPct val="110000"/>
      </a:lnSpc>
      <a:spcBef>
        <a:spcPts val="100"/>
      </a:spcBef>
      <a:spcAft>
        <a:spcPts val="100"/>
      </a:spcAft>
      <a:buFont typeface="Symbol" panose="05050102010706020507" pitchFamily="18" charset="2"/>
      <a:buChar char="-"/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431989" indent="-143996" algn="l" defTabSz="914377" rtl="0" eaLnBrk="1" latinLnBrk="0" hangingPunct="1">
      <a:lnSpc>
        <a:spcPct val="110000"/>
      </a:lnSpc>
      <a:spcBef>
        <a:spcPts val="100"/>
      </a:spcBef>
      <a:spcAft>
        <a:spcPts val="100"/>
      </a:spcAft>
      <a:buFont typeface="Symbol" panose="05050102010706020507" pitchFamily="18" charset="2"/>
      <a:buChar char="-"/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575986" indent="-143996" algn="l" defTabSz="914377" rtl="0" eaLnBrk="1" latinLnBrk="0" hangingPunct="1">
      <a:lnSpc>
        <a:spcPct val="110000"/>
      </a:lnSpc>
      <a:spcBef>
        <a:spcPts val="100"/>
      </a:spcBef>
      <a:spcAft>
        <a:spcPts val="100"/>
      </a:spcAft>
      <a:buFont typeface="Symbol" panose="05050102010706020507" pitchFamily="18" charset="2"/>
      <a:buChar char="-"/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575986" indent="-143996" algn="l" defTabSz="914377" rtl="0" eaLnBrk="1" latinLnBrk="0" hangingPunct="1">
      <a:lnSpc>
        <a:spcPct val="110000"/>
      </a:lnSpc>
      <a:spcBef>
        <a:spcPts val="100"/>
      </a:spcBef>
      <a:spcAft>
        <a:spcPts val="100"/>
      </a:spcAft>
      <a:buFont typeface="Symbol" panose="05050102010706020507" pitchFamily="18" charset="2"/>
      <a:buChar char="-"/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575986" indent="-143996" algn="l" defTabSz="914377" rtl="0" eaLnBrk="1" latinLnBrk="0" hangingPunct="1">
      <a:lnSpc>
        <a:spcPct val="110000"/>
      </a:lnSpc>
      <a:spcBef>
        <a:spcPts val="100"/>
      </a:spcBef>
      <a:spcAft>
        <a:spcPts val="100"/>
      </a:spcAft>
      <a:buFont typeface="Symbol" panose="05050102010706020507" pitchFamily="18" charset="2"/>
      <a:buChar char="-"/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575986" indent="-143996" algn="l" defTabSz="914377" rtl="0" eaLnBrk="1" latinLnBrk="0" hangingPunct="1">
      <a:lnSpc>
        <a:spcPct val="110000"/>
      </a:lnSpc>
      <a:spcBef>
        <a:spcPts val="100"/>
      </a:spcBef>
      <a:spcAft>
        <a:spcPts val="100"/>
      </a:spcAft>
      <a:buFont typeface="Symbol" panose="05050102010706020507" pitchFamily="18" charset="2"/>
      <a:buChar char="-"/>
      <a:defRPr sz="11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pos="302" userDrawn="1">
          <p15:clr>
            <a:srgbClr val="F26B43"/>
          </p15:clr>
        </p15:guide>
        <p15:guide id="2" pos="4021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250825"/>
            <a:ext cx="3200400" cy="18002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"/>
          </p:nvPr>
        </p:nvSpPr>
        <p:spPr/>
        <p:txBody>
          <a:bodyPr/>
          <a:lstStyle/>
          <a:p>
            <a:fld id="{39D8FE6C-32A7-B947-872E-5C3918F6D854}" type="datetime1">
              <a:rPr lang="de-DE" smtClean="0"/>
              <a:t>19.12.2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F9B0DE-3FEB-4AA0-B465-B80EF7C1333D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8137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dunkel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5">
            <a:extLst>
              <a:ext uri="{FF2B5EF4-FFF2-40B4-BE49-F238E27FC236}">
                <a16:creationId xmlns:a16="http://schemas.microsoft.com/office/drawing/2014/main" id="{DF022187-E458-34C4-D48D-6A39DF43134F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43472" y="6381328"/>
            <a:ext cx="766235" cy="216024"/>
          </a:xfrm>
          <a:prstGeom prst="rect">
            <a:avLst/>
          </a:prstGeom>
        </p:spPr>
        <p:txBody>
          <a:bodyPr vert="horz" wrap="none" lIns="0" tIns="36000" rIns="0" bIns="0" rtlCol="0" anchor="t">
            <a:noAutofit/>
          </a:bodyPr>
          <a:lstStyle>
            <a:lvl1pPr algn="l">
              <a:defRPr sz="900">
                <a:ln>
                  <a:noFill/>
                </a:ln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A868ACAA-1254-3E4D-89B2-44FE9AE67073}" type="datetime1">
              <a:rPr lang="de-DE" smtClean="0"/>
              <a:t>19.12.24</a:t>
            </a:fld>
            <a:endParaRPr lang="de-DE"/>
          </a:p>
        </p:txBody>
      </p:sp>
      <p:sp>
        <p:nvSpPr>
          <p:cNvPr id="8" name="Fußzeilenplatzhalter 6">
            <a:extLst>
              <a:ext uri="{FF2B5EF4-FFF2-40B4-BE49-F238E27FC236}">
                <a16:creationId xmlns:a16="http://schemas.microsoft.com/office/drawing/2014/main" id="{CA414597-CAB2-2B6A-7B5F-D882B9FEF7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181225" y="6381328"/>
            <a:ext cx="9200835" cy="214552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l">
              <a:defRPr sz="900">
                <a:ln>
                  <a:noFill/>
                </a:ln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D6A605B3-0945-1020-1DAF-D622202188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24013" y="6381328"/>
            <a:ext cx="360000" cy="216000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r">
              <a:defRPr sz="900">
                <a:ln>
                  <a:noFill/>
                </a:ln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8CFDFCC3-8B40-4EE5-B231-005F2F1C6A6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51044F9D-8DE7-A18C-8A1F-44A73DDCFE23}"/>
              </a:ext>
            </a:extLst>
          </p:cNvPr>
          <p:cNvSpPr/>
          <p:nvPr userDrawn="1"/>
        </p:nvSpPr>
        <p:spPr bwMode="gray">
          <a:xfrm>
            <a:off x="263352" y="6309320"/>
            <a:ext cx="11665296" cy="43204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err="1">
              <a:solidFill>
                <a:schemeClr val="tx1"/>
              </a:solidFill>
            </a:endParaRPr>
          </a:p>
        </p:txBody>
      </p:sp>
      <p:sp>
        <p:nvSpPr>
          <p:cNvPr id="35" name="Bildplatzhalter 34">
            <a:extLst>
              <a:ext uri="{FF2B5EF4-FFF2-40B4-BE49-F238E27FC236}">
                <a16:creationId xmlns:a16="http://schemas.microsoft.com/office/drawing/2014/main" id="{1C69357E-7FF9-31CE-CFDB-86DD2537FD5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143350" y="188640"/>
            <a:ext cx="8857306" cy="6480720"/>
          </a:xfrm>
          <a:custGeom>
            <a:avLst/>
            <a:gdLst>
              <a:gd name="connsiteX0" fmla="*/ 0 w 8857306"/>
              <a:gd name="connsiteY0" fmla="*/ 0 h 6480720"/>
              <a:gd name="connsiteX1" fmla="*/ 8857306 w 8857306"/>
              <a:gd name="connsiteY1" fmla="*/ 0 h 6480720"/>
              <a:gd name="connsiteX2" fmla="*/ 8857306 w 8857306"/>
              <a:gd name="connsiteY2" fmla="*/ 6480720 h 6480720"/>
              <a:gd name="connsiteX3" fmla="*/ 0 w 8857306"/>
              <a:gd name="connsiteY3" fmla="*/ 6480720 h 6480720"/>
              <a:gd name="connsiteX4" fmla="*/ 0 w 8857306"/>
              <a:gd name="connsiteY4" fmla="*/ 6119208 h 6480720"/>
              <a:gd name="connsiteX5" fmla="*/ 0 w 8857306"/>
              <a:gd name="connsiteY5" fmla="*/ 5976664 h 6480720"/>
              <a:gd name="connsiteX6" fmla="*/ 0 w 8857306"/>
              <a:gd name="connsiteY6" fmla="*/ 5832748 h 6480720"/>
              <a:gd name="connsiteX7" fmla="*/ 2936348 w 8857306"/>
              <a:gd name="connsiteY7" fmla="*/ 5832748 h 6480720"/>
              <a:gd name="connsiteX8" fmla="*/ 3528714 w 8857306"/>
              <a:gd name="connsiteY8" fmla="*/ 5240382 h 6480720"/>
              <a:gd name="connsiteX9" fmla="*/ 3528714 w 8857306"/>
              <a:gd name="connsiteY9" fmla="*/ 1952963 h 6480720"/>
              <a:gd name="connsiteX10" fmla="*/ 0 w 8857306"/>
              <a:gd name="connsiteY10" fmla="*/ 1952963 h 6480720"/>
              <a:gd name="connsiteX11" fmla="*/ 0 w 8857306"/>
              <a:gd name="connsiteY11" fmla="*/ 936104 h 6480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857306" h="6480720">
                <a:moveTo>
                  <a:pt x="0" y="0"/>
                </a:moveTo>
                <a:lnTo>
                  <a:pt x="8857306" y="0"/>
                </a:lnTo>
                <a:lnTo>
                  <a:pt x="8857306" y="6480720"/>
                </a:lnTo>
                <a:lnTo>
                  <a:pt x="0" y="6480720"/>
                </a:lnTo>
                <a:lnTo>
                  <a:pt x="0" y="6119208"/>
                </a:lnTo>
                <a:lnTo>
                  <a:pt x="0" y="5976664"/>
                </a:lnTo>
                <a:lnTo>
                  <a:pt x="0" y="5832748"/>
                </a:lnTo>
                <a:lnTo>
                  <a:pt x="2936348" y="5832748"/>
                </a:lnTo>
                <a:lnTo>
                  <a:pt x="3528714" y="5240382"/>
                </a:lnTo>
                <a:lnTo>
                  <a:pt x="3528714" y="1952963"/>
                </a:lnTo>
                <a:lnTo>
                  <a:pt x="0" y="1952963"/>
                </a:lnTo>
                <a:lnTo>
                  <a:pt x="0" y="936104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16" name="Rechteck: diagonal liegende Ecken abgeschnitten 15">
            <a:extLst>
              <a:ext uri="{FF2B5EF4-FFF2-40B4-BE49-F238E27FC236}">
                <a16:creationId xmlns:a16="http://schemas.microsoft.com/office/drawing/2014/main" id="{75708089-ED31-DB93-3C9D-6F5EE587CA31}"/>
              </a:ext>
            </a:extLst>
          </p:cNvPr>
          <p:cNvSpPr/>
          <p:nvPr userDrawn="1"/>
        </p:nvSpPr>
        <p:spPr bwMode="gray">
          <a:xfrm flipH="1">
            <a:off x="407368" y="2141603"/>
            <a:ext cx="6264696" cy="3879785"/>
          </a:xfrm>
          <a:prstGeom prst="snip2DiagRect">
            <a:avLst>
              <a:gd name="adj1" fmla="val 0"/>
              <a:gd name="adj2" fmla="val 15268"/>
            </a:avLst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err="1">
              <a:solidFill>
                <a:schemeClr val="tx1"/>
              </a:solidFill>
            </a:endParaRP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DD2CBF07-1DAD-201A-5B94-7EB749D9D13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839416" y="2601261"/>
            <a:ext cx="5390085" cy="1655478"/>
          </a:xfr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defRPr sz="4000" b="1" i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Titel der Präsentation</a:t>
            </a:r>
            <a:br>
              <a:rPr lang="de-DE"/>
            </a:br>
            <a:r>
              <a:rPr lang="de-DE"/>
              <a:t>(in 1 – 2 Zeilen)</a:t>
            </a:r>
          </a:p>
        </p:txBody>
      </p:sp>
      <p:sp>
        <p:nvSpPr>
          <p:cNvPr id="6" name="Untertitel 2">
            <a:extLst>
              <a:ext uri="{FF2B5EF4-FFF2-40B4-BE49-F238E27FC236}">
                <a16:creationId xmlns:a16="http://schemas.microsoft.com/office/drawing/2014/main" id="{579673ED-DC9C-F95A-08DA-389700E3F28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842988" y="4400914"/>
            <a:ext cx="5386513" cy="72008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/>
              <a:t>Bereichsbezeichnung</a:t>
            </a:r>
            <a:br>
              <a:rPr lang="de-DE"/>
            </a:br>
            <a:r>
              <a:rPr lang="de-DE"/>
              <a:t>Vorname, Name</a:t>
            </a:r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FFA5F4F8-D624-C139-63DE-8F6512F996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839416" y="5265010"/>
            <a:ext cx="5389774" cy="360040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Ort, xx. Monat 20xx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A0D7D45B-3655-B601-5681-43BE9E7F965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7368" y="326722"/>
            <a:ext cx="1664332" cy="437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85211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9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5">
            <a:extLst>
              <a:ext uri="{FF2B5EF4-FFF2-40B4-BE49-F238E27FC236}">
                <a16:creationId xmlns:a16="http://schemas.microsoft.com/office/drawing/2014/main" id="{B17477DA-EF5E-CF83-CEEE-726DEB0C1327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43472" y="6381328"/>
            <a:ext cx="766235" cy="216024"/>
          </a:xfrm>
          <a:prstGeom prst="rect">
            <a:avLst/>
          </a:prstGeom>
        </p:spPr>
        <p:txBody>
          <a:bodyPr vert="horz" wrap="none" lIns="0" tIns="36000" rIns="0" bIns="0" rtlCol="0" anchor="t">
            <a:noAutofit/>
          </a:bodyPr>
          <a:lstStyle>
            <a:lvl1pPr algn="l">
              <a:defRPr sz="9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865B40BC-C890-9B47-AED6-B220819608DB}" type="datetime1">
              <a:rPr lang="de-DE" smtClean="0"/>
              <a:t>19.12.24</a:t>
            </a:fld>
            <a:endParaRPr lang="de-DE"/>
          </a:p>
        </p:txBody>
      </p:sp>
      <p:sp>
        <p:nvSpPr>
          <p:cNvPr id="9" name="Fußzeilenplatzhalter 6">
            <a:extLst>
              <a:ext uri="{FF2B5EF4-FFF2-40B4-BE49-F238E27FC236}">
                <a16:creationId xmlns:a16="http://schemas.microsoft.com/office/drawing/2014/main" id="{A6977DF9-23BE-FC1B-F7E5-6CA2A15AD5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181225" y="6381328"/>
            <a:ext cx="9200835" cy="214552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l">
              <a:defRPr sz="9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10" name="Foliennummernplatzhalter 7">
            <a:extLst>
              <a:ext uri="{FF2B5EF4-FFF2-40B4-BE49-F238E27FC236}">
                <a16:creationId xmlns:a16="http://schemas.microsoft.com/office/drawing/2014/main" id="{5C3C1E8D-8612-980F-6F27-9D938F1BBA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24013" y="6381328"/>
            <a:ext cx="360000" cy="216000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r">
              <a:defRPr sz="90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8CFDFCC3-8B40-4EE5-B231-005F2F1C6A6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782FAB1B-CF5E-4810-A4B4-F7375FEE8AC9}"/>
              </a:ext>
            </a:extLst>
          </p:cNvPr>
          <p:cNvSpPr/>
          <p:nvPr userDrawn="1"/>
        </p:nvSpPr>
        <p:spPr bwMode="gray">
          <a:xfrm>
            <a:off x="191344" y="188640"/>
            <a:ext cx="11809312" cy="6480720"/>
          </a:xfrm>
          <a:custGeom>
            <a:avLst/>
            <a:gdLst>
              <a:gd name="connsiteX0" fmla="*/ 108001 w 12084000"/>
              <a:gd name="connsiteY0" fmla="*/ 0 h 6642000"/>
              <a:gd name="connsiteX1" fmla="*/ 12084000 w 12084000"/>
              <a:gd name="connsiteY1" fmla="*/ 0 h 6642000"/>
              <a:gd name="connsiteX2" fmla="*/ 12084000 w 12084000"/>
              <a:gd name="connsiteY2" fmla="*/ 6642000 h 6642000"/>
              <a:gd name="connsiteX3" fmla="*/ 108001 w 12084000"/>
              <a:gd name="connsiteY3" fmla="*/ 6642000 h 6642000"/>
              <a:gd name="connsiteX4" fmla="*/ 0 w 12084000"/>
              <a:gd name="connsiteY4" fmla="*/ 0 h 6642000"/>
              <a:gd name="connsiteX5" fmla="*/ 1 w 12084000"/>
              <a:gd name="connsiteY5" fmla="*/ 0 h 6642000"/>
              <a:gd name="connsiteX6" fmla="*/ 1 w 12084000"/>
              <a:gd name="connsiteY6" fmla="*/ 6642000 h 6642000"/>
              <a:gd name="connsiteX7" fmla="*/ 0 w 12084000"/>
              <a:gd name="connsiteY7" fmla="*/ 6642000 h 6642000"/>
              <a:gd name="connsiteX0" fmla="*/ 108001 w 12084000"/>
              <a:gd name="connsiteY0" fmla="*/ 0 h 6642000"/>
              <a:gd name="connsiteX1" fmla="*/ 12084000 w 12084000"/>
              <a:gd name="connsiteY1" fmla="*/ 0 h 6642000"/>
              <a:gd name="connsiteX2" fmla="*/ 12084000 w 12084000"/>
              <a:gd name="connsiteY2" fmla="*/ 6642000 h 6642000"/>
              <a:gd name="connsiteX3" fmla="*/ 108001 w 12084000"/>
              <a:gd name="connsiteY3" fmla="*/ 6642000 h 6642000"/>
              <a:gd name="connsiteX4" fmla="*/ 108001 w 12084000"/>
              <a:gd name="connsiteY4" fmla="*/ 0 h 6642000"/>
              <a:gd name="connsiteX5" fmla="*/ 0 w 12084000"/>
              <a:gd name="connsiteY5" fmla="*/ 6642000 h 6642000"/>
              <a:gd name="connsiteX6" fmla="*/ 1 w 12084000"/>
              <a:gd name="connsiteY6" fmla="*/ 0 h 6642000"/>
              <a:gd name="connsiteX7" fmla="*/ 1 w 12084000"/>
              <a:gd name="connsiteY7" fmla="*/ 6642000 h 6642000"/>
              <a:gd name="connsiteX8" fmla="*/ 0 w 12084000"/>
              <a:gd name="connsiteY8" fmla="*/ 6642000 h 6642000"/>
              <a:gd name="connsiteX0" fmla="*/ 108001 w 12084000"/>
              <a:gd name="connsiteY0" fmla="*/ 0 h 6642000"/>
              <a:gd name="connsiteX1" fmla="*/ 12084000 w 12084000"/>
              <a:gd name="connsiteY1" fmla="*/ 0 h 6642000"/>
              <a:gd name="connsiteX2" fmla="*/ 12084000 w 12084000"/>
              <a:gd name="connsiteY2" fmla="*/ 6642000 h 6642000"/>
              <a:gd name="connsiteX3" fmla="*/ 108001 w 12084000"/>
              <a:gd name="connsiteY3" fmla="*/ 6642000 h 6642000"/>
              <a:gd name="connsiteX4" fmla="*/ 108001 w 12084000"/>
              <a:gd name="connsiteY4" fmla="*/ 0 h 6642000"/>
              <a:gd name="connsiteX5" fmla="*/ 0 w 12084000"/>
              <a:gd name="connsiteY5" fmla="*/ 6642000 h 6642000"/>
              <a:gd name="connsiteX6" fmla="*/ 1 w 12084000"/>
              <a:gd name="connsiteY6" fmla="*/ 6642000 h 6642000"/>
              <a:gd name="connsiteX7" fmla="*/ 0 w 12084000"/>
              <a:gd name="connsiteY7" fmla="*/ 6642000 h 6642000"/>
              <a:gd name="connsiteX0" fmla="*/ 0 w 11975999"/>
              <a:gd name="connsiteY0" fmla="*/ 0 h 6642000"/>
              <a:gd name="connsiteX1" fmla="*/ 11975999 w 11975999"/>
              <a:gd name="connsiteY1" fmla="*/ 0 h 6642000"/>
              <a:gd name="connsiteX2" fmla="*/ 11975999 w 11975999"/>
              <a:gd name="connsiteY2" fmla="*/ 6642000 h 6642000"/>
              <a:gd name="connsiteX3" fmla="*/ 0 w 11975999"/>
              <a:gd name="connsiteY3" fmla="*/ 6642000 h 6642000"/>
              <a:gd name="connsiteX4" fmla="*/ 0 w 11975999"/>
              <a:gd name="connsiteY4" fmla="*/ 0 h 664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75999" h="6642000">
                <a:moveTo>
                  <a:pt x="0" y="0"/>
                </a:moveTo>
                <a:lnTo>
                  <a:pt x="11975999" y="0"/>
                </a:lnTo>
                <a:lnTo>
                  <a:pt x="11975999" y="6642000"/>
                </a:lnTo>
                <a:lnTo>
                  <a:pt x="0" y="6642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2F923B66-E5DA-56A0-892E-2B182A748B0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50863" y="542721"/>
            <a:ext cx="2376488" cy="2376489"/>
          </a:xfrm>
          <a:prstGeom prst="snip2DiagRect">
            <a:avLst>
              <a:gd name="adj1" fmla="val 12170"/>
              <a:gd name="adj2" fmla="val 0"/>
            </a:avLst>
          </a:prstGeom>
          <a:solidFill>
            <a:schemeClr val="accent1"/>
          </a:solidFill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lang="de-DE" sz="11000" dirty="0">
                <a:solidFill>
                  <a:schemeClr val="tx2"/>
                </a:solidFill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10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3pPr>
            <a:lvl4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6pPr>
            <a:lvl7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7pPr>
            <a:lvl8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8pPr>
            <a:lvl9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9pPr>
          </a:lstStyle>
          <a:p>
            <a:pPr lvl="0" algn="ctr">
              <a:spcAft>
                <a:spcPts val="0"/>
              </a:spcAft>
            </a:pPr>
            <a:r>
              <a:rPr lang="de-DE"/>
              <a:t>00</a:t>
            </a:r>
          </a:p>
        </p:txBody>
      </p:sp>
      <p:sp>
        <p:nvSpPr>
          <p:cNvPr id="28" name="Titel 1">
            <a:extLst>
              <a:ext uri="{FF2B5EF4-FFF2-40B4-BE49-F238E27FC236}">
                <a16:creationId xmlns:a16="http://schemas.microsoft.com/office/drawing/2014/main" id="{0A4D4DFD-4ED0-F249-10E8-64F2BF694AA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61200" y="2997200"/>
            <a:ext cx="10820860" cy="1441026"/>
          </a:xfr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defRPr sz="4800" b="1" i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/>
              <a:t>Aktuelles Kapitel</a:t>
            </a:r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5E5C7D0B-8B6B-1E62-88D9-7AEC05F9A54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64708" y="4581028"/>
            <a:ext cx="10813909" cy="1440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/>
              <a:t>Optionale Einführung in das Kapitel </a:t>
            </a:r>
            <a:br>
              <a:rPr lang="de-DE"/>
            </a:br>
            <a:r>
              <a:rPr lang="de-DE"/>
              <a:t>(in 1 – 2 Zeilen)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B6F203A6-8D9B-A2E0-3B3D-78FC7839C0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978711" y="324817"/>
            <a:ext cx="803098" cy="211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54047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5">
            <a:extLst>
              <a:ext uri="{FF2B5EF4-FFF2-40B4-BE49-F238E27FC236}">
                <a16:creationId xmlns:a16="http://schemas.microsoft.com/office/drawing/2014/main" id="{5A80584B-72D6-8BD1-E918-2D32B4B09745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43472" y="6381328"/>
            <a:ext cx="766235" cy="216024"/>
          </a:xfrm>
          <a:prstGeom prst="rect">
            <a:avLst/>
          </a:prstGeom>
        </p:spPr>
        <p:txBody>
          <a:bodyPr vert="horz" wrap="none" lIns="0" tIns="36000" rIns="0" bIns="0" rtlCol="0" anchor="t">
            <a:noAutofit/>
          </a:bodyPr>
          <a:lstStyle>
            <a:lvl1pPr algn="l">
              <a:defRPr sz="9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9D6C8C75-E229-1443-B90B-8FEB8F771548}" type="datetime1">
              <a:rPr lang="de-DE" smtClean="0"/>
              <a:t>19.12.24</a:t>
            </a:fld>
            <a:endParaRPr lang="de-DE"/>
          </a:p>
        </p:txBody>
      </p:sp>
      <p:sp>
        <p:nvSpPr>
          <p:cNvPr id="9" name="Fußzeilenplatzhalter 6">
            <a:extLst>
              <a:ext uri="{FF2B5EF4-FFF2-40B4-BE49-F238E27FC236}">
                <a16:creationId xmlns:a16="http://schemas.microsoft.com/office/drawing/2014/main" id="{A4D5752B-DC4F-8FA3-BE8F-AF29E3928C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181225" y="6381328"/>
            <a:ext cx="9200835" cy="214552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l">
              <a:defRPr sz="9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10" name="Foliennummernplatzhalter 7">
            <a:extLst>
              <a:ext uri="{FF2B5EF4-FFF2-40B4-BE49-F238E27FC236}">
                <a16:creationId xmlns:a16="http://schemas.microsoft.com/office/drawing/2014/main" id="{3153B27F-BA0D-307F-6B9D-2936AB9AFC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24013" y="6381328"/>
            <a:ext cx="360000" cy="216000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r">
              <a:defRPr sz="90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8CFDFCC3-8B40-4EE5-B231-005F2F1C6A6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862EF2F3-AE5D-4BD1-B244-0252E5F5621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312024" y="188640"/>
            <a:ext cx="5688632" cy="6480720"/>
          </a:xfrm>
          <a:solidFill>
            <a:schemeClr val="tx2"/>
          </a:solidFill>
        </p:spPr>
        <p:txBody>
          <a:bodyPr tIns="0" bIns="864000" anchor="ctr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1991A20A-A472-F228-BF1F-4A7345353B1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50863" y="542721"/>
            <a:ext cx="2376488" cy="2376489"/>
          </a:xfrm>
          <a:prstGeom prst="snip2DiagRect">
            <a:avLst>
              <a:gd name="adj1" fmla="val 12170"/>
              <a:gd name="adj2" fmla="val 0"/>
            </a:avLst>
          </a:prstGeom>
          <a:solidFill>
            <a:schemeClr val="tx2"/>
          </a:solidFill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lang="de-DE" sz="11000" dirty="0">
                <a:solidFill>
                  <a:schemeClr val="bg1"/>
                </a:solidFill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10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3pPr>
            <a:lvl4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6pPr>
            <a:lvl7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7pPr>
            <a:lvl8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8pPr>
            <a:lvl9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9pPr>
          </a:lstStyle>
          <a:p>
            <a:pPr lvl="0" algn="ctr">
              <a:spcAft>
                <a:spcPts val="0"/>
              </a:spcAft>
            </a:pPr>
            <a:r>
              <a:rPr lang="de-DE"/>
              <a:t>00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CCD9AAD5-53C0-0803-D3EF-73B000BCFB3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978711" y="324817"/>
            <a:ext cx="803098" cy="21134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324EC6C7-4797-2417-AC8A-36E911AC8D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50863" y="3140101"/>
            <a:ext cx="5545137" cy="1441026"/>
          </a:xfr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defRPr sz="4800" b="1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/>
              <a:t>Aktuelles Kapitel</a:t>
            </a:r>
          </a:p>
        </p:txBody>
      </p:sp>
      <p:sp>
        <p:nvSpPr>
          <p:cNvPr id="4" name="Untertitel 2">
            <a:extLst>
              <a:ext uri="{FF2B5EF4-FFF2-40B4-BE49-F238E27FC236}">
                <a16:creationId xmlns:a16="http://schemas.microsoft.com/office/drawing/2014/main" id="{8ECA9E30-505E-D3D4-0659-235DFE99C6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50864" y="4723929"/>
            <a:ext cx="5545136" cy="1440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/>
              <a:t>Optionale Einführung in das Kapitel </a:t>
            </a:r>
            <a:br>
              <a:rPr lang="de-DE"/>
            </a:br>
            <a:r>
              <a:rPr lang="de-DE"/>
              <a:t>(in 1 – 2 Zeilen)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764B6A8-105B-F1BF-7B11-7DD7985BBFA8}"/>
              </a:ext>
            </a:extLst>
          </p:cNvPr>
          <p:cNvSpPr/>
          <p:nvPr userDrawn="1"/>
        </p:nvSpPr>
        <p:spPr bwMode="gray">
          <a:xfrm>
            <a:off x="263352" y="6309320"/>
            <a:ext cx="5832029" cy="43204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43325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mit Bild (dunk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5">
            <a:extLst>
              <a:ext uri="{FF2B5EF4-FFF2-40B4-BE49-F238E27FC236}">
                <a16:creationId xmlns:a16="http://schemas.microsoft.com/office/drawing/2014/main" id="{7D13D226-FEBD-5F8E-4DD0-99A80D4AF3C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43472" y="6381328"/>
            <a:ext cx="766235" cy="216024"/>
          </a:xfrm>
          <a:prstGeom prst="rect">
            <a:avLst/>
          </a:prstGeom>
        </p:spPr>
        <p:txBody>
          <a:bodyPr vert="horz" wrap="none" lIns="0" tIns="36000" rIns="0" bIns="0" rtlCol="0" anchor="t">
            <a:noAutofit/>
          </a:bodyPr>
          <a:lstStyle>
            <a:lvl1pPr algn="l">
              <a:defRPr sz="9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C6CB17B6-9FE2-B044-813A-0B98371AAF92}" type="datetime1">
              <a:rPr lang="de-DE" smtClean="0"/>
              <a:t>19.12.24</a:t>
            </a:fld>
            <a:endParaRPr lang="de-DE"/>
          </a:p>
        </p:txBody>
      </p:sp>
      <p:sp>
        <p:nvSpPr>
          <p:cNvPr id="9" name="Fußzeilenplatzhalter 6">
            <a:extLst>
              <a:ext uri="{FF2B5EF4-FFF2-40B4-BE49-F238E27FC236}">
                <a16:creationId xmlns:a16="http://schemas.microsoft.com/office/drawing/2014/main" id="{ADA84DC9-FCA0-3828-3A70-55B4AC6936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181225" y="6381328"/>
            <a:ext cx="9200835" cy="214552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l">
              <a:defRPr sz="9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10" name="Foliennummernplatzhalter 7">
            <a:extLst>
              <a:ext uri="{FF2B5EF4-FFF2-40B4-BE49-F238E27FC236}">
                <a16:creationId xmlns:a16="http://schemas.microsoft.com/office/drawing/2014/main" id="{0CDF671A-2847-7D22-7166-291A6BB1DF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24013" y="6381328"/>
            <a:ext cx="360000" cy="216000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r">
              <a:defRPr sz="90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8CFDFCC3-8B40-4EE5-B231-005F2F1C6A6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FA42DDA0-F0F9-05D0-BFDA-686015D6CDD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191344" y="188640"/>
            <a:ext cx="11809312" cy="6480720"/>
          </a:xfrm>
          <a:custGeom>
            <a:avLst/>
            <a:gdLst>
              <a:gd name="connsiteX0" fmla="*/ 648738 w 11809312"/>
              <a:gd name="connsiteY0" fmla="*/ 354081 h 6480720"/>
              <a:gd name="connsiteX1" fmla="*/ 359519 w 11809312"/>
              <a:gd name="connsiteY1" fmla="*/ 643300 h 6480720"/>
              <a:gd name="connsiteX2" fmla="*/ 359519 w 11809312"/>
              <a:gd name="connsiteY2" fmla="*/ 2730570 h 6480720"/>
              <a:gd name="connsiteX3" fmla="*/ 2446788 w 11809312"/>
              <a:gd name="connsiteY3" fmla="*/ 2730570 h 6480720"/>
              <a:gd name="connsiteX4" fmla="*/ 2736007 w 11809312"/>
              <a:gd name="connsiteY4" fmla="*/ 2441351 h 6480720"/>
              <a:gd name="connsiteX5" fmla="*/ 2736007 w 11809312"/>
              <a:gd name="connsiteY5" fmla="*/ 354081 h 6480720"/>
              <a:gd name="connsiteX6" fmla="*/ 0 w 11809312"/>
              <a:gd name="connsiteY6" fmla="*/ 0 h 6480720"/>
              <a:gd name="connsiteX7" fmla="*/ 11809312 w 11809312"/>
              <a:gd name="connsiteY7" fmla="*/ 0 h 6480720"/>
              <a:gd name="connsiteX8" fmla="*/ 11809312 w 11809312"/>
              <a:gd name="connsiteY8" fmla="*/ 6480720 h 6480720"/>
              <a:gd name="connsiteX9" fmla="*/ 0 w 11809312"/>
              <a:gd name="connsiteY9" fmla="*/ 6480720 h 6480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809312" h="6480720">
                <a:moveTo>
                  <a:pt x="648738" y="354081"/>
                </a:moveTo>
                <a:lnTo>
                  <a:pt x="359519" y="643300"/>
                </a:lnTo>
                <a:lnTo>
                  <a:pt x="359519" y="2730570"/>
                </a:lnTo>
                <a:lnTo>
                  <a:pt x="2446788" y="2730570"/>
                </a:lnTo>
                <a:lnTo>
                  <a:pt x="2736007" y="2441351"/>
                </a:lnTo>
                <a:lnTo>
                  <a:pt x="2736007" y="354081"/>
                </a:lnTo>
                <a:close/>
                <a:moveTo>
                  <a:pt x="0" y="0"/>
                </a:moveTo>
                <a:lnTo>
                  <a:pt x="11809312" y="0"/>
                </a:lnTo>
                <a:lnTo>
                  <a:pt x="11809312" y="6480720"/>
                </a:lnTo>
                <a:lnTo>
                  <a:pt x="0" y="648072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0" bIns="864000" anchor="ctr">
            <a:noAutofit/>
          </a:bodyPr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C3361B33-3FF7-0A8F-0F87-E4BA154C7D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50863" y="542721"/>
            <a:ext cx="2376488" cy="2376489"/>
          </a:xfrm>
          <a:prstGeom prst="snip2DiagRect">
            <a:avLst>
              <a:gd name="adj1" fmla="val 12170"/>
              <a:gd name="adj2" fmla="val 0"/>
            </a:avLst>
          </a:prstGeom>
          <a:solidFill>
            <a:schemeClr val="accent1"/>
          </a:solidFill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lang="de-DE" sz="11000" dirty="0">
                <a:solidFill>
                  <a:schemeClr val="tx2"/>
                </a:solidFill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10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3pPr>
            <a:lvl4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6pPr>
            <a:lvl7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7pPr>
            <a:lvl8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8pPr>
            <a:lvl9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9pPr>
          </a:lstStyle>
          <a:p>
            <a:pPr lvl="0" algn="ctr">
              <a:spcAft>
                <a:spcPts val="0"/>
              </a:spcAft>
            </a:pPr>
            <a:r>
              <a:rPr lang="de-DE"/>
              <a:t>00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939D9F29-C223-26C8-0BB2-1FD6047C371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61200" y="2997200"/>
            <a:ext cx="8703450" cy="1441026"/>
          </a:xfr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defRPr sz="4000" b="1" i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/>
              <a:t>Aktuelles Kapitel</a:t>
            </a:r>
          </a:p>
        </p:txBody>
      </p:sp>
      <p:sp>
        <p:nvSpPr>
          <p:cNvPr id="12" name="Untertitel 2">
            <a:extLst>
              <a:ext uri="{FF2B5EF4-FFF2-40B4-BE49-F238E27FC236}">
                <a16:creationId xmlns:a16="http://schemas.microsoft.com/office/drawing/2014/main" id="{94080C0A-0647-8185-7168-034595F07E7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64708" y="4581028"/>
            <a:ext cx="8697859" cy="1440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/>
              <a:t>Optionale Einführung in das Kapitel </a:t>
            </a:r>
            <a:br>
              <a:rPr lang="de-DE"/>
            </a:br>
            <a:r>
              <a:rPr lang="de-DE"/>
              <a:t>(in 1 – 2 Zeilen)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64D39A1D-3653-B6E9-B6FE-E2D189773D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978711" y="324817"/>
            <a:ext cx="803098" cy="211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88079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26B43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mit Bild (he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5">
            <a:extLst>
              <a:ext uri="{FF2B5EF4-FFF2-40B4-BE49-F238E27FC236}">
                <a16:creationId xmlns:a16="http://schemas.microsoft.com/office/drawing/2014/main" id="{7D13D226-FEBD-5F8E-4DD0-99A80D4AF3C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43472" y="6381328"/>
            <a:ext cx="766235" cy="216024"/>
          </a:xfrm>
          <a:prstGeom prst="rect">
            <a:avLst/>
          </a:prstGeom>
        </p:spPr>
        <p:txBody>
          <a:bodyPr vert="horz" wrap="none" lIns="0" tIns="36000" rIns="0" bIns="0" rtlCol="0" anchor="t">
            <a:noAutofit/>
          </a:bodyPr>
          <a:lstStyle>
            <a:lvl1pPr algn="l">
              <a:defRPr sz="9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F282DC82-F584-554A-8589-C4ED19B3E051}" type="datetime1">
              <a:rPr lang="de-DE" smtClean="0"/>
              <a:t>19.12.24</a:t>
            </a:fld>
            <a:endParaRPr lang="de-DE"/>
          </a:p>
        </p:txBody>
      </p:sp>
      <p:sp>
        <p:nvSpPr>
          <p:cNvPr id="9" name="Fußzeilenplatzhalter 6">
            <a:extLst>
              <a:ext uri="{FF2B5EF4-FFF2-40B4-BE49-F238E27FC236}">
                <a16:creationId xmlns:a16="http://schemas.microsoft.com/office/drawing/2014/main" id="{ADA84DC9-FCA0-3828-3A70-55B4AC6936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181225" y="6381328"/>
            <a:ext cx="9200835" cy="214552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l">
              <a:defRPr sz="9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10" name="Foliennummernplatzhalter 7">
            <a:extLst>
              <a:ext uri="{FF2B5EF4-FFF2-40B4-BE49-F238E27FC236}">
                <a16:creationId xmlns:a16="http://schemas.microsoft.com/office/drawing/2014/main" id="{0CDF671A-2847-7D22-7166-291A6BB1DF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24013" y="6381328"/>
            <a:ext cx="360000" cy="216000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r">
              <a:defRPr sz="90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8CFDFCC3-8B40-4EE5-B231-005F2F1C6A6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DEEEB6B6-EF8A-3C1E-1CA2-04FBDA39F5D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191344" y="188640"/>
            <a:ext cx="11809312" cy="6480720"/>
          </a:xfrm>
          <a:custGeom>
            <a:avLst/>
            <a:gdLst>
              <a:gd name="connsiteX0" fmla="*/ 648738 w 11809312"/>
              <a:gd name="connsiteY0" fmla="*/ 354081 h 6480720"/>
              <a:gd name="connsiteX1" fmla="*/ 359519 w 11809312"/>
              <a:gd name="connsiteY1" fmla="*/ 643300 h 6480720"/>
              <a:gd name="connsiteX2" fmla="*/ 359519 w 11809312"/>
              <a:gd name="connsiteY2" fmla="*/ 2730570 h 6480720"/>
              <a:gd name="connsiteX3" fmla="*/ 2446788 w 11809312"/>
              <a:gd name="connsiteY3" fmla="*/ 2730570 h 6480720"/>
              <a:gd name="connsiteX4" fmla="*/ 2736007 w 11809312"/>
              <a:gd name="connsiteY4" fmla="*/ 2441351 h 6480720"/>
              <a:gd name="connsiteX5" fmla="*/ 2736007 w 11809312"/>
              <a:gd name="connsiteY5" fmla="*/ 354081 h 6480720"/>
              <a:gd name="connsiteX6" fmla="*/ 0 w 11809312"/>
              <a:gd name="connsiteY6" fmla="*/ 0 h 6480720"/>
              <a:gd name="connsiteX7" fmla="*/ 11809312 w 11809312"/>
              <a:gd name="connsiteY7" fmla="*/ 0 h 6480720"/>
              <a:gd name="connsiteX8" fmla="*/ 11809312 w 11809312"/>
              <a:gd name="connsiteY8" fmla="*/ 6480720 h 6480720"/>
              <a:gd name="connsiteX9" fmla="*/ 0 w 11809312"/>
              <a:gd name="connsiteY9" fmla="*/ 6480720 h 6480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809312" h="6480720">
                <a:moveTo>
                  <a:pt x="648738" y="354081"/>
                </a:moveTo>
                <a:lnTo>
                  <a:pt x="359519" y="643300"/>
                </a:lnTo>
                <a:lnTo>
                  <a:pt x="359519" y="2730570"/>
                </a:lnTo>
                <a:lnTo>
                  <a:pt x="2446788" y="2730570"/>
                </a:lnTo>
                <a:lnTo>
                  <a:pt x="2736007" y="2441351"/>
                </a:lnTo>
                <a:lnTo>
                  <a:pt x="2736007" y="354081"/>
                </a:lnTo>
                <a:close/>
                <a:moveTo>
                  <a:pt x="0" y="0"/>
                </a:moveTo>
                <a:lnTo>
                  <a:pt x="11809312" y="0"/>
                </a:lnTo>
                <a:lnTo>
                  <a:pt x="11809312" y="6480720"/>
                </a:lnTo>
                <a:lnTo>
                  <a:pt x="0" y="648072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tIns="0" bIns="864000" anchor="ctr">
            <a:noAutofit/>
          </a:bodyPr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939D9F29-C223-26C8-0BB2-1FD6047C371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61200" y="2997200"/>
            <a:ext cx="8703450" cy="1441026"/>
          </a:xfr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defRPr sz="4000" b="1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/>
              <a:t>Aktuelles Kapitel</a:t>
            </a:r>
          </a:p>
        </p:txBody>
      </p:sp>
      <p:sp>
        <p:nvSpPr>
          <p:cNvPr id="12" name="Untertitel 2">
            <a:extLst>
              <a:ext uri="{FF2B5EF4-FFF2-40B4-BE49-F238E27FC236}">
                <a16:creationId xmlns:a16="http://schemas.microsoft.com/office/drawing/2014/main" id="{94080C0A-0647-8185-7168-034595F07E7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64708" y="4581028"/>
            <a:ext cx="8697859" cy="1440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/>
              <a:t>Optionale Einführung in das Kapitel </a:t>
            </a:r>
            <a:br>
              <a:rPr lang="de-DE"/>
            </a:br>
            <a:r>
              <a:rPr lang="de-DE"/>
              <a:t>(in 1 – 2 Zeilen)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DE5D8E4-71DA-C4B7-7C3E-BEC1DC3CBB3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78711" y="324817"/>
            <a:ext cx="803098" cy="211342"/>
          </a:xfrm>
          <a:prstGeom prst="rect">
            <a:avLst/>
          </a:prstGeom>
        </p:spPr>
      </p:pic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FDE1A9A8-7009-D177-7CA3-857B383A933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50863" y="542721"/>
            <a:ext cx="2376488" cy="2376489"/>
          </a:xfrm>
          <a:prstGeom prst="snip2DiagRect">
            <a:avLst>
              <a:gd name="adj1" fmla="val 12170"/>
              <a:gd name="adj2" fmla="val 0"/>
            </a:avLst>
          </a:prstGeom>
          <a:solidFill>
            <a:schemeClr val="tx2"/>
          </a:solidFill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lang="de-DE" sz="11000" dirty="0">
                <a:solidFill>
                  <a:schemeClr val="bg1"/>
                </a:solidFill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10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3pPr>
            <a:lvl4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6pPr>
            <a:lvl7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7pPr>
            <a:lvl8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8pPr>
            <a:lvl9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9pPr>
          </a:lstStyle>
          <a:p>
            <a:pPr lvl="0" algn="ctr">
              <a:spcAft>
                <a:spcPts val="0"/>
              </a:spcAft>
            </a:pPr>
            <a:r>
              <a:rPr lang="de-DE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19891937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5">
            <a:extLst>
              <a:ext uri="{FF2B5EF4-FFF2-40B4-BE49-F238E27FC236}">
                <a16:creationId xmlns:a16="http://schemas.microsoft.com/office/drawing/2014/main" id="{79A09899-8296-2631-5E3C-BC349788B85C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1293" y="6381328"/>
            <a:ext cx="766235" cy="216024"/>
          </a:xfrm>
          <a:prstGeom prst="rect">
            <a:avLst/>
          </a:prstGeom>
        </p:spPr>
        <p:txBody>
          <a:bodyPr vert="horz" wrap="none" lIns="0" tIns="36000" rIns="0" bIns="0" rtlCol="0" anchor="t">
            <a:noAutofit/>
          </a:bodyPr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fld id="{2CC99ECD-E46A-0548-94EA-2F685C265E76}" type="datetime1">
              <a:rPr lang="de-DE" smtClean="0"/>
              <a:t>19.12.24</a:t>
            </a:fld>
            <a:endParaRPr lang="de-DE"/>
          </a:p>
        </p:txBody>
      </p:sp>
      <p:sp>
        <p:nvSpPr>
          <p:cNvPr id="5" name="Fußzeilenplatzhalter 6">
            <a:extLst>
              <a:ext uri="{FF2B5EF4-FFF2-40B4-BE49-F238E27FC236}">
                <a16:creationId xmlns:a16="http://schemas.microsoft.com/office/drawing/2014/main" id="{999E5AAE-D314-2C09-0B08-BDE842A1DE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943753" y="6381328"/>
            <a:ext cx="9408831" cy="214552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9"/>
            <a:ext cx="11376024" cy="4463950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Nutzen Sie die Buttons „Listenebene erhöhen/verringern“ auf dem Register Start, um zwischen den eingerichteten Textebenen zu wechseln. Text durch Klicken bearbeiten.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093296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Fußnote/Quellenangab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BB6C62A-E079-40D3-9900-AD05955568B0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096DB7C3-448B-4970-8D81-B174ACDAD67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815122"/>
            <a:ext cx="11376000" cy="360008"/>
          </a:xfrm>
        </p:spPr>
        <p:txBody>
          <a:bodyPr tIns="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accent6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accent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9pPr>
          </a:lstStyle>
          <a:p>
            <a:pPr lvl="0"/>
            <a:r>
              <a:rPr lang="de-DE"/>
              <a:t>Zusatz zum Folientitel</a:t>
            </a:r>
          </a:p>
        </p:txBody>
      </p:sp>
      <p:sp>
        <p:nvSpPr>
          <p:cNvPr id="11" name="Foliennummernplatzhalter 7">
            <a:extLst>
              <a:ext uri="{FF2B5EF4-FFF2-40B4-BE49-F238E27FC236}">
                <a16:creationId xmlns:a16="http://schemas.microsoft.com/office/drawing/2014/main" id="{3D7A048C-B6FC-6754-CCE3-A2950A9EA7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24013" y="6381328"/>
            <a:ext cx="360000" cy="216000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8CFDFCC3-8B40-4EE5-B231-005F2F1C6A68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7F4A52E7-F93E-3449-D7C3-F4235ED38E8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78711" y="324817"/>
            <a:ext cx="803098" cy="211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2237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5">
            <a:extLst>
              <a:ext uri="{FF2B5EF4-FFF2-40B4-BE49-F238E27FC236}">
                <a16:creationId xmlns:a16="http://schemas.microsoft.com/office/drawing/2014/main" id="{9ABB8963-A016-574D-0FC2-2762B2BE261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1293" y="6381328"/>
            <a:ext cx="766235" cy="216024"/>
          </a:xfrm>
          <a:prstGeom prst="rect">
            <a:avLst/>
          </a:prstGeom>
        </p:spPr>
        <p:txBody>
          <a:bodyPr vert="horz" wrap="none" lIns="0" tIns="36000" rIns="0" bIns="0" rtlCol="0" anchor="t">
            <a:noAutofit/>
          </a:bodyPr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fld id="{6F071813-075B-A74B-B83A-B79D792FF9E1}" type="datetime1">
              <a:rPr lang="de-DE" smtClean="0"/>
              <a:t>19.12.24</a:t>
            </a:fld>
            <a:endParaRPr lang="de-DE"/>
          </a:p>
        </p:txBody>
      </p:sp>
      <p:sp>
        <p:nvSpPr>
          <p:cNvPr id="5" name="Fußzeilenplatzhalter 6">
            <a:extLst>
              <a:ext uri="{FF2B5EF4-FFF2-40B4-BE49-F238E27FC236}">
                <a16:creationId xmlns:a16="http://schemas.microsoft.com/office/drawing/2014/main" id="{C551719E-919E-9EF4-BB75-6CF563003D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943753" y="6381328"/>
            <a:ext cx="9408831" cy="214552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9"/>
            <a:ext cx="5472000" cy="4463950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Nutzen Sie die Buttons „Listenebene erhöhen/verringern“ auf dem Register Start, um zwischen den eingerichteten Textebenen zu wechseln. Text durch Klicken bearbeiten.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093296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Fußnote/Quellenangabe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AEF87B94-0E4E-4D4D-90D2-45EA54A6DECB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 bwMode="gray">
          <a:xfrm>
            <a:off x="6312632" y="1557339"/>
            <a:ext cx="5472000" cy="4463950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BB6C62A-E079-40D3-9900-AD05955568B0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096DB7C3-448B-4970-8D81-B174ACDAD67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815122"/>
            <a:ext cx="11376000" cy="360008"/>
          </a:xfrm>
        </p:spPr>
        <p:txBody>
          <a:bodyPr tIns="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accent6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accent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9pPr>
          </a:lstStyle>
          <a:p>
            <a:pPr lvl="0"/>
            <a:r>
              <a:rPr lang="de-DE"/>
              <a:t>Zusatz zum Folientitel</a:t>
            </a:r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35F25F3D-174C-44FA-89AA-4F52F7B4A2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24013" y="6381328"/>
            <a:ext cx="360000" cy="216000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8CFDFCC3-8B40-4EE5-B231-005F2F1C6A68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61E74D3-51E5-1E21-D785-74A527D2DD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78711" y="324817"/>
            <a:ext cx="803098" cy="211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56852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5">
            <a:extLst>
              <a:ext uri="{FF2B5EF4-FFF2-40B4-BE49-F238E27FC236}">
                <a16:creationId xmlns:a16="http://schemas.microsoft.com/office/drawing/2014/main" id="{D229C3A1-ADE6-48C3-277A-012323067B73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1293" y="6381328"/>
            <a:ext cx="766235" cy="216024"/>
          </a:xfrm>
          <a:prstGeom prst="rect">
            <a:avLst/>
          </a:prstGeom>
        </p:spPr>
        <p:txBody>
          <a:bodyPr vert="horz" wrap="none" lIns="0" tIns="36000" rIns="0" bIns="0" rtlCol="0" anchor="t">
            <a:noAutofit/>
          </a:bodyPr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fld id="{39E58E08-7CF8-6E43-A2F1-926331B3F9B6}" type="datetime1">
              <a:rPr lang="de-DE" smtClean="0"/>
              <a:t>19.12.24</a:t>
            </a:fld>
            <a:endParaRPr lang="de-DE"/>
          </a:p>
        </p:txBody>
      </p:sp>
      <p:sp>
        <p:nvSpPr>
          <p:cNvPr id="5" name="Fußzeilenplatzhalter 6">
            <a:extLst>
              <a:ext uri="{FF2B5EF4-FFF2-40B4-BE49-F238E27FC236}">
                <a16:creationId xmlns:a16="http://schemas.microsoft.com/office/drawing/2014/main" id="{91F47E64-59A5-301F-E423-2F242E53BA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943753" y="6381328"/>
            <a:ext cx="9408831" cy="214552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6792"/>
            <a:ext cx="3527424" cy="4464075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093296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Fußnote/Quellenangabe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AEF87B94-0E4E-4D4D-90D2-45EA54A6DECB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 bwMode="gray">
          <a:xfrm>
            <a:off x="4367213" y="1557213"/>
            <a:ext cx="3456980" cy="4464075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EC89F919-1B13-4706-A895-5230C18E4967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 bwMode="gray">
          <a:xfrm>
            <a:off x="8256240" y="1557338"/>
            <a:ext cx="3528392" cy="4464075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Nutzen Sie die Buttons „Listenebene erhöhen/verringern“ auf dem Register Start, um zwischen den eingerichteten Textebenen zu wechseln. Text durch Klicken bearbeiten.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9D22048-BEBC-426E-A278-D4D79DE0D712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F50C4900-737E-423F-9ADD-3A961D701C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815122"/>
            <a:ext cx="11376000" cy="360008"/>
          </a:xfrm>
        </p:spPr>
        <p:txBody>
          <a:bodyPr tIns="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accent6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accent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9pPr>
          </a:lstStyle>
          <a:p>
            <a:pPr lvl="0"/>
            <a:r>
              <a:rPr lang="de-DE"/>
              <a:t>Zusatz zum Folientitel</a:t>
            </a:r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16188968-ED96-F1CD-6718-5F4F6806D2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24013" y="6381328"/>
            <a:ext cx="360000" cy="216000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8CFDFCC3-8B40-4EE5-B231-005F2F1C6A68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D3D1E519-0EF3-30D5-E3BE-022E231ED7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78711" y="324817"/>
            <a:ext cx="803098" cy="211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41241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grafische Bühn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5">
            <a:extLst>
              <a:ext uri="{FF2B5EF4-FFF2-40B4-BE49-F238E27FC236}">
                <a16:creationId xmlns:a16="http://schemas.microsoft.com/office/drawing/2014/main" id="{DB808F82-440D-2E20-6980-F2407567640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1293" y="6381328"/>
            <a:ext cx="766235" cy="216024"/>
          </a:xfrm>
          <a:prstGeom prst="rect">
            <a:avLst/>
          </a:prstGeom>
        </p:spPr>
        <p:txBody>
          <a:bodyPr vert="horz" wrap="none" lIns="0" tIns="36000" rIns="0" bIns="0" rtlCol="0" anchor="t">
            <a:noAutofit/>
          </a:bodyPr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fld id="{7EAF1FA6-9D28-7D42-95E6-8338C58FD00C}" type="datetime1">
              <a:rPr lang="de-DE" smtClean="0"/>
              <a:t>19.12.24</a:t>
            </a:fld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24BD83D-F845-31FA-5550-35951542D0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943753" y="6381328"/>
            <a:ext cx="9408831" cy="214552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12A075D8-35C7-A23A-3FB3-8BDA22A20F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24013" y="6381328"/>
            <a:ext cx="360000" cy="216000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8CFDFCC3-8B40-4EE5-B231-005F2F1C6A6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04ECF5D8-597F-433C-8071-7F63B641BBB2}"/>
              </a:ext>
            </a:extLst>
          </p:cNvPr>
          <p:cNvSpPr/>
          <p:nvPr userDrawn="1"/>
        </p:nvSpPr>
        <p:spPr bwMode="gray">
          <a:xfrm>
            <a:off x="8256239" y="0"/>
            <a:ext cx="3935761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8"/>
            <a:ext cx="7416204" cy="4464049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9" y="6093296"/>
            <a:ext cx="7416824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Fußnote/Quellenangab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25C4D34-0D4B-4A6A-A6C5-252B19CA1A3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332656"/>
            <a:ext cx="7416824" cy="455976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CA3144BC-1106-472B-816B-6995089CAC9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815122"/>
            <a:ext cx="7416000" cy="360008"/>
          </a:xfrm>
        </p:spPr>
        <p:txBody>
          <a:bodyPr tIns="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accent6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accent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9pPr>
          </a:lstStyle>
          <a:p>
            <a:pPr lvl="0"/>
            <a:r>
              <a:rPr lang="de-DE"/>
              <a:t>Zusatz zum Folientitel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DCE4A30C-BD80-D2D5-79D7-53F57FBF41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978711" y="324817"/>
            <a:ext cx="803098" cy="211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96447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grafische Bühne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5">
            <a:extLst>
              <a:ext uri="{FF2B5EF4-FFF2-40B4-BE49-F238E27FC236}">
                <a16:creationId xmlns:a16="http://schemas.microsoft.com/office/drawing/2014/main" id="{404158CD-3527-2F9D-D881-5DF74F66532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1293" y="6381328"/>
            <a:ext cx="766235" cy="216024"/>
          </a:xfrm>
          <a:prstGeom prst="rect">
            <a:avLst/>
          </a:prstGeom>
        </p:spPr>
        <p:txBody>
          <a:bodyPr vert="horz" wrap="none" lIns="0" tIns="36000" rIns="0" bIns="0" rtlCol="0" anchor="t">
            <a:noAutofit/>
          </a:bodyPr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fld id="{0F0221C0-8571-E843-BE9B-6281891EF9B3}" type="datetime1">
              <a:rPr lang="de-DE" smtClean="0"/>
              <a:t>19.12.24</a:t>
            </a:fld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2A0D778-4669-97C6-B9BE-88DF3D7F45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943753" y="6381328"/>
            <a:ext cx="9408831" cy="214552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71A8ADE7-D57D-5599-ED38-0EAAC7C3E7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24013" y="6381328"/>
            <a:ext cx="360000" cy="216000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8CFDFCC3-8B40-4EE5-B231-005F2F1C6A68}" type="slidenum">
              <a:rPr lang="de-DE" smtClean="0"/>
              <a:pPr/>
              <a:t>‹#›</a:t>
            </a:fld>
            <a:endParaRPr lang="de-DE"/>
          </a:p>
        </p:txBody>
      </p:sp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15C34BC-9550-479A-8EB8-445796C514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2136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5" imgH="416" progId="TCLayout.ActiveDocument.1">
                  <p:embed/>
                </p:oleObj>
              </mc:Choice>
              <mc:Fallback>
                <p:oleObj name="think-cell Folie" r:id="rId3" imgW="415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15C34BC-9550-479A-8EB8-445796C514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>
            <a:extLst>
              <a:ext uri="{FF2B5EF4-FFF2-40B4-BE49-F238E27FC236}">
                <a16:creationId xmlns:a16="http://schemas.microsoft.com/office/drawing/2014/main" id="{04ECF5D8-597F-433C-8071-7F63B641BBB2}"/>
              </a:ext>
            </a:extLst>
          </p:cNvPr>
          <p:cNvSpPr/>
          <p:nvPr userDrawn="1"/>
        </p:nvSpPr>
        <p:spPr bwMode="gray">
          <a:xfrm>
            <a:off x="6311900" y="0"/>
            <a:ext cx="5880099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8"/>
            <a:ext cx="5471987" cy="4464049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9" y="6093296"/>
            <a:ext cx="5472607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Fußnote/Quellenangabe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67CD3000-F673-4FB4-9DDE-8F74EE19346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988" y="332656"/>
            <a:ext cx="5471988" cy="455976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F1CF5AEF-D7C5-4A0F-B1F1-B3E1C576064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815122"/>
            <a:ext cx="5471344" cy="360008"/>
          </a:xfrm>
        </p:spPr>
        <p:txBody>
          <a:bodyPr tIns="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accent6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accent6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9pPr>
          </a:lstStyle>
          <a:p>
            <a:pPr lvl="0"/>
            <a:r>
              <a:rPr lang="de-DE"/>
              <a:t>Zusatz zum Folientitel</a:t>
            </a:r>
          </a:p>
          <a:p>
            <a:pPr lvl="1"/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1742992A-5C58-372B-9626-3EAEF02EE04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978711" y="324817"/>
            <a:ext cx="803098" cy="211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99768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oliennummernplatzhalter 7">
            <a:extLst>
              <a:ext uri="{FF2B5EF4-FFF2-40B4-BE49-F238E27FC236}">
                <a16:creationId xmlns:a16="http://schemas.microsoft.com/office/drawing/2014/main" id="{43FE0109-378F-E6DC-541F-2BBAC2260A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24013" y="6381328"/>
            <a:ext cx="360000" cy="216000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8CFDFCC3-8B40-4EE5-B231-005F2F1C6A68}" type="slidenum">
              <a:rPr lang="de-DE" smtClean="0"/>
              <a:pPr/>
              <a:t>‹#›</a:t>
            </a:fld>
            <a:endParaRPr lang="de-DE"/>
          </a:p>
        </p:txBody>
      </p:sp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9889991-D7C3-47DC-A0E7-496256CBD9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7635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5" imgH="416" progId="TCLayout.ActiveDocument.1">
                  <p:embed/>
                </p:oleObj>
              </mc:Choice>
              <mc:Fallback>
                <p:oleObj name="think-cell Folie" r:id="rId3" imgW="415" imgH="41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9889991-D7C3-47DC-A0E7-496256CBD9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7">
            <a:extLst>
              <a:ext uri="{FF2B5EF4-FFF2-40B4-BE49-F238E27FC236}">
                <a16:creationId xmlns:a16="http://schemas.microsoft.com/office/drawing/2014/main" id="{773FAEC6-8B23-4327-9DFE-B48C2DF8AA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093296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Fußnote/Quellenangabe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9C26CE14-4DBD-4CA6-859D-9AEFC308E827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5F07166E-D4A4-48C3-9A15-5CC337FDB6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815122"/>
            <a:ext cx="11376000" cy="360008"/>
          </a:xfrm>
        </p:spPr>
        <p:txBody>
          <a:bodyPr tIns="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accent6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accent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9pPr>
          </a:lstStyle>
          <a:p>
            <a:pPr lvl="0"/>
            <a:r>
              <a:rPr lang="de-DE"/>
              <a:t>Zusatz zum Folientitel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9DCBC591-3689-DEA2-29DD-412F548686C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78711" y="324817"/>
            <a:ext cx="803098" cy="211342"/>
          </a:xfrm>
          <a:prstGeom prst="rect">
            <a:avLst/>
          </a:prstGeom>
        </p:spPr>
      </p:pic>
      <p:sp>
        <p:nvSpPr>
          <p:cNvPr id="2" name="Datumsplatzhalter 5">
            <a:extLst>
              <a:ext uri="{FF2B5EF4-FFF2-40B4-BE49-F238E27FC236}">
                <a16:creationId xmlns:a16="http://schemas.microsoft.com/office/drawing/2014/main" id="{737569E9-49BE-87E2-8DAB-3A35678734B4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1293" y="6381328"/>
            <a:ext cx="766235" cy="216024"/>
          </a:xfrm>
          <a:prstGeom prst="rect">
            <a:avLst/>
          </a:prstGeom>
        </p:spPr>
        <p:txBody>
          <a:bodyPr vert="horz" wrap="none" lIns="0" tIns="36000" rIns="0" bIns="0" rtlCol="0" anchor="t">
            <a:noAutofit/>
          </a:bodyPr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fld id="{09BCDB56-52EF-F04D-ACAB-CFDBC4C09D62}" type="datetime1">
              <a:rPr lang="de-DE" smtClean="0"/>
              <a:t>19.12.24</a:t>
            </a:fld>
            <a:endParaRPr lang="de-DE"/>
          </a:p>
        </p:txBody>
      </p:sp>
      <p:sp>
        <p:nvSpPr>
          <p:cNvPr id="8" name="Fußzeilenplatzhalter 6">
            <a:extLst>
              <a:ext uri="{FF2B5EF4-FFF2-40B4-BE49-F238E27FC236}">
                <a16:creationId xmlns:a16="http://schemas.microsoft.com/office/drawing/2014/main" id="{0001EE8F-73FA-F9C2-C10D-91777CFD5D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943753" y="6381328"/>
            <a:ext cx="9408831" cy="214552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</p:spTree>
    <p:extLst>
      <p:ext uri="{BB962C8B-B14F-4D97-AF65-F5344CB8AC3E}">
        <p14:creationId xmlns:p14="http://schemas.microsoft.com/office/powerpoint/2010/main" val="25389905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 mit Bild - Logo hochka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5">
            <a:extLst>
              <a:ext uri="{FF2B5EF4-FFF2-40B4-BE49-F238E27FC236}">
                <a16:creationId xmlns:a16="http://schemas.microsoft.com/office/drawing/2014/main" id="{DF022187-E458-34C4-D48D-6A39DF43134F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43472" y="6381328"/>
            <a:ext cx="766235" cy="216024"/>
          </a:xfrm>
          <a:prstGeom prst="rect">
            <a:avLst/>
          </a:prstGeom>
        </p:spPr>
        <p:txBody>
          <a:bodyPr vert="horz" wrap="none" lIns="0" tIns="36000" rIns="0" bIns="0" rtlCol="0" anchor="t">
            <a:noAutofit/>
          </a:bodyPr>
          <a:lstStyle>
            <a:lvl1pPr algn="l">
              <a:defRPr sz="900">
                <a:ln>
                  <a:noFill/>
                </a:ln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C200D24A-C0D3-2A4B-A0BA-9B45300A1A46}" type="datetime1">
              <a:rPr lang="de-DE" smtClean="0"/>
              <a:t>19.12.24</a:t>
            </a:fld>
            <a:endParaRPr lang="de-DE"/>
          </a:p>
        </p:txBody>
      </p:sp>
      <p:sp>
        <p:nvSpPr>
          <p:cNvPr id="8" name="Fußzeilenplatzhalter 6">
            <a:extLst>
              <a:ext uri="{FF2B5EF4-FFF2-40B4-BE49-F238E27FC236}">
                <a16:creationId xmlns:a16="http://schemas.microsoft.com/office/drawing/2014/main" id="{CA414597-CAB2-2B6A-7B5F-D882B9FEF7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181225" y="6381328"/>
            <a:ext cx="9200835" cy="214552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l">
              <a:defRPr sz="900">
                <a:ln>
                  <a:noFill/>
                </a:ln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D6A605B3-0945-1020-1DAF-D622202188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24013" y="6381328"/>
            <a:ext cx="360000" cy="216000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r">
              <a:defRPr sz="900">
                <a:ln>
                  <a:noFill/>
                </a:ln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8CFDFCC3-8B40-4EE5-B231-005F2F1C6A6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F3ED60F-6D75-4A05-08CD-BFD602181451}"/>
              </a:ext>
            </a:extLst>
          </p:cNvPr>
          <p:cNvSpPr/>
          <p:nvPr userDrawn="1"/>
        </p:nvSpPr>
        <p:spPr bwMode="gray">
          <a:xfrm>
            <a:off x="263352" y="6309320"/>
            <a:ext cx="11665296" cy="43204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err="1">
              <a:solidFill>
                <a:schemeClr val="tx1"/>
              </a:solidFill>
            </a:endParaRPr>
          </a:p>
        </p:txBody>
      </p:sp>
      <p:sp>
        <p:nvSpPr>
          <p:cNvPr id="12" name="Rechteck: diagonal liegende Ecken abgeschnitten 11">
            <a:extLst>
              <a:ext uri="{FF2B5EF4-FFF2-40B4-BE49-F238E27FC236}">
                <a16:creationId xmlns:a16="http://schemas.microsoft.com/office/drawing/2014/main" id="{26F6E0BB-5190-BC5A-E809-8E246DC8C8BF}"/>
              </a:ext>
            </a:extLst>
          </p:cNvPr>
          <p:cNvSpPr/>
          <p:nvPr userDrawn="1"/>
        </p:nvSpPr>
        <p:spPr bwMode="gray">
          <a:xfrm flipH="1">
            <a:off x="191342" y="1844792"/>
            <a:ext cx="8641508" cy="4824567"/>
          </a:xfrm>
          <a:prstGeom prst="snip2DiagRect">
            <a:avLst>
              <a:gd name="adj1" fmla="val 0"/>
              <a:gd name="adj2" fmla="val 11873"/>
            </a:avLst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err="1">
              <a:solidFill>
                <a:schemeClr val="tx1"/>
              </a:solidFill>
            </a:endParaRP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8EF966D7-C000-5C8C-9869-B3922A5695B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767408" y="2780928"/>
            <a:ext cx="4824536" cy="1655478"/>
          </a:xfr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defRPr sz="4000" b="1" i="0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/>
              <a:t>Titel der </a:t>
            </a:r>
            <a:br>
              <a:rPr lang="de-DE"/>
            </a:br>
            <a:r>
              <a:rPr lang="de-DE"/>
              <a:t>Präsentation</a:t>
            </a:r>
            <a:br>
              <a:rPr lang="de-DE"/>
            </a:br>
            <a:r>
              <a:rPr lang="de-DE"/>
              <a:t>(in 1 – 2 Zeilen)</a:t>
            </a:r>
          </a:p>
        </p:txBody>
      </p:sp>
      <p:sp>
        <p:nvSpPr>
          <p:cNvPr id="16" name="Untertitel 2">
            <a:extLst>
              <a:ext uri="{FF2B5EF4-FFF2-40B4-BE49-F238E27FC236}">
                <a16:creationId xmlns:a16="http://schemas.microsoft.com/office/drawing/2014/main" id="{6C656C9F-EB02-78EB-E6DF-C037342483A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67408" y="4580581"/>
            <a:ext cx="4821339" cy="72008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/>
              <a:t>Bereichsbezeichnung</a:t>
            </a:r>
            <a:br>
              <a:rPr lang="de-DE"/>
            </a:br>
            <a:r>
              <a:rPr lang="de-DE"/>
              <a:t>Vorname, Name</a:t>
            </a: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3C72CB0E-1C58-54E3-A8A0-7DD967C8CAF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67408" y="5444677"/>
            <a:ext cx="4824258" cy="360040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Ort, xx. Monat 20xx</a:t>
            </a:r>
          </a:p>
        </p:txBody>
      </p:sp>
      <p:sp>
        <p:nvSpPr>
          <p:cNvPr id="2" name="Bildplatzhalter 1">
            <a:extLst>
              <a:ext uri="{FF2B5EF4-FFF2-40B4-BE49-F238E27FC236}">
                <a16:creationId xmlns:a16="http://schemas.microsoft.com/office/drawing/2014/main" id="{11D9613D-3A9E-AD10-6B71-B167663A264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735960" y="188640"/>
            <a:ext cx="6264698" cy="5904656"/>
          </a:xfrm>
          <a:prstGeom prst="snip2DiagRect">
            <a:avLst>
              <a:gd name="adj1" fmla="val 10046"/>
              <a:gd name="adj2" fmla="val 0"/>
            </a:avLst>
          </a:pr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 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CB24A009-62A0-612A-C1D0-24B6EA4B883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7368" y="326722"/>
            <a:ext cx="1664332" cy="437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96045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83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5">
            <a:extLst>
              <a:ext uri="{FF2B5EF4-FFF2-40B4-BE49-F238E27FC236}">
                <a16:creationId xmlns:a16="http://schemas.microsoft.com/office/drawing/2014/main" id="{3546E5C9-C886-C69F-692E-9FD110C00597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1293" y="6381328"/>
            <a:ext cx="766235" cy="216024"/>
          </a:xfrm>
          <a:prstGeom prst="rect">
            <a:avLst/>
          </a:prstGeom>
        </p:spPr>
        <p:txBody>
          <a:bodyPr vert="horz" wrap="none" lIns="0" tIns="36000" rIns="0" bIns="0" rtlCol="0" anchor="t">
            <a:noAutofit/>
          </a:bodyPr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fld id="{00DA3EDA-0A0E-FB43-B8A0-4D80C88F2726}" type="datetime1">
              <a:rPr lang="de-DE" smtClean="0"/>
              <a:t>19.12.24</a:t>
            </a:fld>
            <a:endParaRPr lang="de-DE"/>
          </a:p>
        </p:txBody>
      </p:sp>
      <p:sp>
        <p:nvSpPr>
          <p:cNvPr id="4" name="Fußzeilenplatzhalter 6">
            <a:extLst>
              <a:ext uri="{FF2B5EF4-FFF2-40B4-BE49-F238E27FC236}">
                <a16:creationId xmlns:a16="http://schemas.microsoft.com/office/drawing/2014/main" id="{D20CDD8C-3A71-BA15-3B0C-B69DB57002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943753" y="6381328"/>
            <a:ext cx="9408831" cy="214552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7" name="Foliennummernplatzhalter 7">
            <a:extLst>
              <a:ext uri="{FF2B5EF4-FFF2-40B4-BE49-F238E27FC236}">
                <a16:creationId xmlns:a16="http://schemas.microsoft.com/office/drawing/2014/main" id="{B39B8961-73D6-D05F-53D2-9B9742E21A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24013" y="6381328"/>
            <a:ext cx="360000" cy="216000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r">
              <a:defRPr sz="90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8CFDFCC3-8B40-4EE5-B231-005F2F1C6A6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862EF2F3-AE5D-4BD1-B244-0252E5F5621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191345" y="188640"/>
            <a:ext cx="11809312" cy="648072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 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2B2E59BD-6CE3-FA39-46DE-763A3EBABB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978711" y="324817"/>
            <a:ext cx="803098" cy="211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46962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ein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5">
            <a:extLst>
              <a:ext uri="{FF2B5EF4-FFF2-40B4-BE49-F238E27FC236}">
                <a16:creationId xmlns:a16="http://schemas.microsoft.com/office/drawing/2014/main" id="{C0194C54-C608-B74D-95DD-F53490A1BF13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1293" y="6381328"/>
            <a:ext cx="766235" cy="216024"/>
          </a:xfrm>
          <a:prstGeom prst="rect">
            <a:avLst/>
          </a:prstGeom>
        </p:spPr>
        <p:txBody>
          <a:bodyPr vert="horz" wrap="none" lIns="0" tIns="36000" rIns="0" bIns="0" rtlCol="0" anchor="t">
            <a:noAutofit/>
          </a:bodyPr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fld id="{85CC315F-0050-D443-8488-2A818ED263A9}" type="datetime1">
              <a:rPr lang="de-DE" smtClean="0"/>
              <a:t>19.12.24</a:t>
            </a:fld>
            <a:endParaRPr lang="de-DE"/>
          </a:p>
        </p:txBody>
      </p:sp>
      <p:sp>
        <p:nvSpPr>
          <p:cNvPr id="5" name="Fußzeilenplatzhalter 6">
            <a:extLst>
              <a:ext uri="{FF2B5EF4-FFF2-40B4-BE49-F238E27FC236}">
                <a16:creationId xmlns:a16="http://schemas.microsoft.com/office/drawing/2014/main" id="{151F15A8-25AC-0CC1-6761-90CCB2D8A2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943753" y="6381328"/>
            <a:ext cx="9408831" cy="214552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12" name="Foliennummernplatzhalter 7">
            <a:extLst>
              <a:ext uri="{FF2B5EF4-FFF2-40B4-BE49-F238E27FC236}">
                <a16:creationId xmlns:a16="http://schemas.microsoft.com/office/drawing/2014/main" id="{9D288ED2-1F6B-77C7-5CEC-6BC4FE7452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24013" y="6381328"/>
            <a:ext cx="360000" cy="216000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8CFDFCC3-8B40-4EE5-B231-005F2F1C6A6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9"/>
            <a:ext cx="5471987" cy="4463950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093296"/>
            <a:ext cx="5472608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Fußnote/Quellenangab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2490BACD-2229-4AF3-A1D0-9FB8C6A21F1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317087" y="188640"/>
            <a:ext cx="5683570" cy="64807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tIns="0" bIns="864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A8BE99A-D79E-410F-82B8-086DDD8C679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332656"/>
            <a:ext cx="5472608" cy="455976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D39B8FDB-812C-4286-8375-92CE868D5CE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815122"/>
            <a:ext cx="5471344" cy="360008"/>
          </a:xfrm>
        </p:spPr>
        <p:txBody>
          <a:bodyPr tIns="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accent6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accent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9pPr>
          </a:lstStyle>
          <a:p>
            <a:pPr lvl="0"/>
            <a:r>
              <a:rPr lang="de-DE"/>
              <a:t>Zusatz zum Folientitel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A707139-5C80-617A-5326-C4C9414E61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978711" y="324817"/>
            <a:ext cx="803098" cy="211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36997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5">
            <a:extLst>
              <a:ext uri="{FF2B5EF4-FFF2-40B4-BE49-F238E27FC236}">
                <a16:creationId xmlns:a16="http://schemas.microsoft.com/office/drawing/2014/main" id="{4FA233EE-7085-F939-60C1-3E9998FBDBD0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1293" y="6381328"/>
            <a:ext cx="766235" cy="216024"/>
          </a:xfrm>
          <a:prstGeom prst="rect">
            <a:avLst/>
          </a:prstGeom>
        </p:spPr>
        <p:txBody>
          <a:bodyPr vert="horz" wrap="none" lIns="0" tIns="36000" rIns="0" bIns="0" rtlCol="0" anchor="t">
            <a:noAutofit/>
          </a:bodyPr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fld id="{792AFB31-B593-5947-881F-CB6065F43080}" type="datetime1">
              <a:rPr lang="de-DE" smtClean="0"/>
              <a:t>19.12.24</a:t>
            </a:fld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64713C72-0AA3-ED78-2DFB-9BE9196144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943753" y="6381328"/>
            <a:ext cx="9408831" cy="214552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12" name="Foliennummernplatzhalter 7">
            <a:extLst>
              <a:ext uri="{FF2B5EF4-FFF2-40B4-BE49-F238E27FC236}">
                <a16:creationId xmlns:a16="http://schemas.microsoft.com/office/drawing/2014/main" id="{5F3EAF40-D00C-3514-C41F-AAA554756C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24013" y="6381328"/>
            <a:ext cx="360000" cy="216000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8CFDFCC3-8B40-4EE5-B231-005F2F1C6A6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9"/>
            <a:ext cx="5471987" cy="4463950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093296"/>
            <a:ext cx="5472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Fußnote/Quellenangab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E8CB5280-FF36-45FF-A7EA-8A788876514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312025" y="188639"/>
            <a:ext cx="5688631" cy="3240361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72EA302A-73E1-4E4F-B4BD-5AB867F331A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12025" y="3573017"/>
            <a:ext cx="5688631" cy="3096344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AAD05F2-EDC0-4B09-8BC9-593B046E6A0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332656"/>
            <a:ext cx="5472608" cy="455976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F4252F69-3942-4D54-8486-E8FD34D26B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815122"/>
            <a:ext cx="5471344" cy="360008"/>
          </a:xfrm>
        </p:spPr>
        <p:txBody>
          <a:bodyPr tIns="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accent6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accent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9pPr>
          </a:lstStyle>
          <a:p>
            <a:pPr lvl="0"/>
            <a:r>
              <a:rPr lang="de-DE"/>
              <a:t>Zusatz zum Folientitel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BBB24A3-0CC8-886A-D80E-2665869906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978711" y="324817"/>
            <a:ext cx="803098" cy="211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69827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5">
            <a:extLst>
              <a:ext uri="{FF2B5EF4-FFF2-40B4-BE49-F238E27FC236}">
                <a16:creationId xmlns:a16="http://schemas.microsoft.com/office/drawing/2014/main" id="{3E1F6C5F-8969-4AFF-DA2B-1EA9717F9B0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1293" y="6381328"/>
            <a:ext cx="766235" cy="216024"/>
          </a:xfrm>
          <a:prstGeom prst="rect">
            <a:avLst/>
          </a:prstGeom>
        </p:spPr>
        <p:txBody>
          <a:bodyPr vert="horz" wrap="none" lIns="0" tIns="36000" rIns="0" bIns="0" rtlCol="0" anchor="t">
            <a:noAutofit/>
          </a:bodyPr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fld id="{B73B60D3-C906-3B48-97D4-874B326A97C1}" type="datetime1">
              <a:rPr lang="de-DE" smtClean="0"/>
              <a:t>19.12.24</a:t>
            </a:fld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6C7112F2-E0BB-125A-7A7A-6329A47AD0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943753" y="6381328"/>
            <a:ext cx="9408831" cy="214552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12" name="Foliennummernplatzhalter 7">
            <a:extLst>
              <a:ext uri="{FF2B5EF4-FFF2-40B4-BE49-F238E27FC236}">
                <a16:creationId xmlns:a16="http://schemas.microsoft.com/office/drawing/2014/main" id="{768C3C57-C2BE-C354-57E1-A9A3E82541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24013" y="6381328"/>
            <a:ext cx="360000" cy="216000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8CFDFCC3-8B40-4EE5-B231-005F2F1C6A6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9"/>
            <a:ext cx="5472000" cy="4463950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093296"/>
            <a:ext cx="5472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Fußnote/Quellenangab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E8CB5280-FF36-45FF-A7EA-8A788876514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312025" y="188640"/>
            <a:ext cx="2880319" cy="324036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72EA302A-73E1-4E4F-B4BD-5AB867F331A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12025" y="3573017"/>
            <a:ext cx="5688631" cy="3096344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9FB83DFD-5A5B-4FEC-89F4-CBBAD40D217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9336831" y="188640"/>
            <a:ext cx="2663825" cy="324036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3C0CB03-62FB-487C-A92A-E57DE4A583B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332656"/>
            <a:ext cx="5472608" cy="455976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E03E884F-CF0A-4875-A30B-357B7D9C19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815122"/>
            <a:ext cx="5471344" cy="360008"/>
          </a:xfrm>
        </p:spPr>
        <p:txBody>
          <a:bodyPr tIns="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accent6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accent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9pPr>
          </a:lstStyle>
          <a:p>
            <a:pPr lvl="0"/>
            <a:r>
              <a:rPr lang="de-DE"/>
              <a:t>Zusatz zum Folientitel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1280A61F-EA61-04A3-6094-B07EA0174DD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978711" y="324817"/>
            <a:ext cx="803098" cy="211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4687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drei Bilder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5">
            <a:extLst>
              <a:ext uri="{FF2B5EF4-FFF2-40B4-BE49-F238E27FC236}">
                <a16:creationId xmlns:a16="http://schemas.microsoft.com/office/drawing/2014/main" id="{E3A9431F-F8B8-A675-475A-BE5680C9E57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1293" y="6381328"/>
            <a:ext cx="766235" cy="216024"/>
          </a:xfrm>
          <a:prstGeom prst="rect">
            <a:avLst/>
          </a:prstGeom>
        </p:spPr>
        <p:txBody>
          <a:bodyPr vert="horz" wrap="none" lIns="0" tIns="36000" rIns="0" bIns="0" rtlCol="0" anchor="t">
            <a:noAutofit/>
          </a:bodyPr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fld id="{A5E2F402-39FB-D447-B050-E9CAE083D25D}" type="datetime1">
              <a:rPr lang="de-DE" smtClean="0"/>
              <a:t>19.12.24</a:t>
            </a:fld>
            <a:endParaRPr lang="de-DE"/>
          </a:p>
        </p:txBody>
      </p:sp>
      <p:sp>
        <p:nvSpPr>
          <p:cNvPr id="5" name="Fußzeilenplatzhalter 6">
            <a:extLst>
              <a:ext uri="{FF2B5EF4-FFF2-40B4-BE49-F238E27FC236}">
                <a16:creationId xmlns:a16="http://schemas.microsoft.com/office/drawing/2014/main" id="{B742A850-D386-6903-9DCF-8870E20201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943753" y="6381328"/>
            <a:ext cx="9408831" cy="214552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129386F6-2EBD-F254-F506-DF3844F449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24013" y="6381328"/>
            <a:ext cx="360000" cy="216000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8CFDFCC3-8B40-4EE5-B231-005F2F1C6A68}" type="slidenum">
              <a:rPr lang="de-DE" smtClean="0"/>
              <a:pPr/>
              <a:t>‹#›</a:t>
            </a:fld>
            <a:endParaRPr lang="de-DE"/>
          </a:p>
        </p:txBody>
      </p:sp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720CC2A-69E5-4868-B716-9775A7ECA1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27993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5" imgH="416" progId="TCLayout.ActiveDocument.1">
                  <p:embed/>
                </p:oleObj>
              </mc:Choice>
              <mc:Fallback>
                <p:oleObj name="think-cell Folie" r:id="rId3" imgW="415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720CC2A-69E5-4868-B716-9775A7ECA1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9"/>
            <a:ext cx="7417033" cy="1414800"/>
          </a:xfrm>
        </p:spPr>
        <p:txBody>
          <a:bodyPr/>
          <a:lstStyle>
            <a:lvl1pPr>
              <a:spcAft>
                <a:spcPts val="200"/>
              </a:spcAft>
              <a:defRPr>
                <a:solidFill>
                  <a:schemeClr val="accent6"/>
                </a:solidFill>
              </a:defRPr>
            </a:lvl1pPr>
            <a:lvl2pPr>
              <a:spcAft>
                <a:spcPts val="200"/>
              </a:spcAft>
              <a:defRPr>
                <a:solidFill>
                  <a:schemeClr val="tx2"/>
                </a:solidFill>
              </a:defRPr>
            </a:lvl2pPr>
            <a:lvl3pPr>
              <a:spcAft>
                <a:spcPts val="200"/>
              </a:spcAft>
              <a:defRPr>
                <a:solidFill>
                  <a:schemeClr val="tx2"/>
                </a:solidFill>
              </a:defRPr>
            </a:lvl3pPr>
            <a:lvl4pPr>
              <a:spcAft>
                <a:spcPts val="200"/>
              </a:spcAft>
              <a:defRPr>
                <a:solidFill>
                  <a:schemeClr val="tx2"/>
                </a:solidFill>
              </a:defRPr>
            </a:lvl4pPr>
            <a:lvl5pPr>
              <a:spcAft>
                <a:spcPts val="200"/>
              </a:spcAft>
              <a:defRPr>
                <a:solidFill>
                  <a:schemeClr val="tx2"/>
                </a:solidFill>
              </a:defRPr>
            </a:lvl5pPr>
            <a:lvl6pPr>
              <a:spcAft>
                <a:spcPts val="200"/>
              </a:spcAft>
              <a:defRPr>
                <a:solidFill>
                  <a:schemeClr val="tx2"/>
                </a:solidFill>
              </a:defRPr>
            </a:lvl6pPr>
            <a:lvl7pPr>
              <a:spcAft>
                <a:spcPts val="200"/>
              </a:spcAft>
              <a:defRPr>
                <a:solidFill>
                  <a:schemeClr val="tx2"/>
                </a:solidFill>
              </a:defRPr>
            </a:lvl7pPr>
            <a:lvl8pPr>
              <a:spcAft>
                <a:spcPts val="200"/>
              </a:spcAft>
              <a:defRPr>
                <a:solidFill>
                  <a:schemeClr val="tx2"/>
                </a:solidFill>
              </a:defRPr>
            </a:lvl8pPr>
            <a:lvl9pPr>
              <a:spcAft>
                <a:spcPts val="200"/>
              </a:spcAft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7" y="6093296"/>
            <a:ext cx="7417421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Fußnote/Quellenangab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E8CB5280-FF36-45FF-A7EA-8A788876514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8184306" y="1557338"/>
            <a:ext cx="3816350" cy="14148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72EA302A-73E1-4E4F-B4BD-5AB867F331A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8184306" y="3073669"/>
            <a:ext cx="3816350" cy="14148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1DBD824E-7BD9-42EB-A741-717B9ED9C6AC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8184306" y="4590000"/>
            <a:ext cx="3816350" cy="14148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0C8C35B0-D28C-470A-9370-CD75020BFE3D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 bwMode="gray">
          <a:xfrm>
            <a:off x="407989" y="3081913"/>
            <a:ext cx="7417033" cy="1414800"/>
          </a:xfrm>
        </p:spPr>
        <p:txBody>
          <a:bodyPr/>
          <a:lstStyle>
            <a:lvl1pPr>
              <a:spcAft>
                <a:spcPts val="200"/>
              </a:spcAft>
              <a:defRPr>
                <a:solidFill>
                  <a:schemeClr val="accent6"/>
                </a:solidFill>
              </a:defRPr>
            </a:lvl1pPr>
            <a:lvl2pPr>
              <a:spcAft>
                <a:spcPts val="200"/>
              </a:spcAft>
              <a:defRPr>
                <a:solidFill>
                  <a:schemeClr val="tx2"/>
                </a:solidFill>
              </a:defRPr>
            </a:lvl2pPr>
            <a:lvl3pPr>
              <a:spcAft>
                <a:spcPts val="200"/>
              </a:spcAft>
              <a:defRPr>
                <a:solidFill>
                  <a:schemeClr val="tx2"/>
                </a:solidFill>
              </a:defRPr>
            </a:lvl3pPr>
            <a:lvl4pPr>
              <a:spcAft>
                <a:spcPts val="200"/>
              </a:spcAft>
              <a:defRPr>
                <a:solidFill>
                  <a:schemeClr val="tx2"/>
                </a:solidFill>
              </a:defRPr>
            </a:lvl4pPr>
            <a:lvl5pPr>
              <a:spcAft>
                <a:spcPts val="200"/>
              </a:spcAft>
              <a:defRPr>
                <a:solidFill>
                  <a:schemeClr val="tx2"/>
                </a:solidFill>
              </a:defRPr>
            </a:lvl5pPr>
            <a:lvl6pPr>
              <a:spcAft>
                <a:spcPts val="200"/>
              </a:spcAft>
              <a:defRPr>
                <a:solidFill>
                  <a:schemeClr val="tx2"/>
                </a:solidFill>
              </a:defRPr>
            </a:lvl6pPr>
            <a:lvl7pPr>
              <a:spcAft>
                <a:spcPts val="200"/>
              </a:spcAft>
              <a:defRPr>
                <a:solidFill>
                  <a:schemeClr val="tx2"/>
                </a:solidFill>
              </a:defRPr>
            </a:lvl7pPr>
            <a:lvl8pPr>
              <a:spcAft>
                <a:spcPts val="200"/>
              </a:spcAft>
              <a:defRPr>
                <a:solidFill>
                  <a:schemeClr val="tx2"/>
                </a:solidFill>
              </a:defRPr>
            </a:lvl8pPr>
            <a:lvl9pPr>
              <a:spcAft>
                <a:spcPts val="200"/>
              </a:spcAft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9" name="Inhaltsplatzhalter 2">
            <a:extLst>
              <a:ext uri="{FF2B5EF4-FFF2-40B4-BE49-F238E27FC236}">
                <a16:creationId xmlns:a16="http://schemas.microsoft.com/office/drawing/2014/main" id="{34C99758-AEB9-4B74-A583-4F20E16B1F20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 bwMode="gray">
          <a:xfrm>
            <a:off x="407989" y="4606488"/>
            <a:ext cx="7416799" cy="1414800"/>
          </a:xfrm>
        </p:spPr>
        <p:txBody>
          <a:bodyPr/>
          <a:lstStyle>
            <a:lvl1pPr>
              <a:spcAft>
                <a:spcPts val="200"/>
              </a:spcAft>
              <a:defRPr>
                <a:solidFill>
                  <a:schemeClr val="accent6"/>
                </a:solidFill>
              </a:defRPr>
            </a:lvl1pPr>
            <a:lvl2pPr>
              <a:spcAft>
                <a:spcPts val="200"/>
              </a:spcAft>
              <a:defRPr>
                <a:solidFill>
                  <a:schemeClr val="tx2"/>
                </a:solidFill>
              </a:defRPr>
            </a:lvl2pPr>
            <a:lvl3pPr>
              <a:spcAft>
                <a:spcPts val="200"/>
              </a:spcAft>
              <a:defRPr>
                <a:solidFill>
                  <a:schemeClr val="tx2"/>
                </a:solidFill>
              </a:defRPr>
            </a:lvl3pPr>
            <a:lvl4pPr>
              <a:spcAft>
                <a:spcPts val="200"/>
              </a:spcAft>
              <a:defRPr>
                <a:solidFill>
                  <a:schemeClr val="tx2"/>
                </a:solidFill>
              </a:defRPr>
            </a:lvl4pPr>
            <a:lvl5pPr>
              <a:spcAft>
                <a:spcPts val="200"/>
              </a:spcAft>
              <a:defRPr>
                <a:solidFill>
                  <a:schemeClr val="tx2"/>
                </a:solidFill>
              </a:defRPr>
            </a:lvl5pPr>
            <a:lvl6pPr>
              <a:spcAft>
                <a:spcPts val="200"/>
              </a:spcAft>
              <a:defRPr>
                <a:solidFill>
                  <a:schemeClr val="tx2"/>
                </a:solidFill>
              </a:defRPr>
            </a:lvl6pPr>
            <a:lvl7pPr>
              <a:spcAft>
                <a:spcPts val="200"/>
              </a:spcAft>
              <a:defRPr>
                <a:solidFill>
                  <a:schemeClr val="tx2"/>
                </a:solidFill>
              </a:defRPr>
            </a:lvl7pPr>
            <a:lvl8pPr>
              <a:spcAft>
                <a:spcPts val="200"/>
              </a:spcAft>
              <a:defRPr>
                <a:solidFill>
                  <a:schemeClr val="tx2"/>
                </a:solidFill>
              </a:defRPr>
            </a:lvl8pPr>
            <a:lvl9pPr>
              <a:spcAft>
                <a:spcPts val="200"/>
              </a:spcAft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03A7B327-7039-4FEF-BCD3-A776D61F74B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7" y="332656"/>
            <a:ext cx="11376645" cy="455976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C34650D0-58A9-4AD9-B04B-15F140A91FC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1" y="815122"/>
            <a:ext cx="11375381" cy="360008"/>
          </a:xfrm>
        </p:spPr>
        <p:txBody>
          <a:bodyPr tIns="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accent6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accent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9pPr>
          </a:lstStyle>
          <a:p>
            <a:pPr lvl="0"/>
            <a:r>
              <a:rPr lang="de-DE"/>
              <a:t>Zusatz zum Folientitel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97825AC-1CE7-9BE5-F1BE-E1240162C7F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78711" y="324817"/>
            <a:ext cx="803098" cy="211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89444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mit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5">
            <a:extLst>
              <a:ext uri="{FF2B5EF4-FFF2-40B4-BE49-F238E27FC236}">
                <a16:creationId xmlns:a16="http://schemas.microsoft.com/office/drawing/2014/main" id="{B854D9DA-D795-B293-2C74-64D7F4B4E195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1293" y="6381328"/>
            <a:ext cx="766235" cy="216024"/>
          </a:xfrm>
          <a:prstGeom prst="rect">
            <a:avLst/>
          </a:prstGeom>
        </p:spPr>
        <p:txBody>
          <a:bodyPr vert="horz" wrap="none" lIns="0" tIns="36000" rIns="0" bIns="0" rtlCol="0" anchor="t">
            <a:noAutofit/>
          </a:bodyPr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fld id="{8B714B1B-71EF-B641-90D5-8628745CCE63}" type="datetime1">
              <a:rPr lang="de-DE" smtClean="0"/>
              <a:t>19.12.24</a:t>
            </a:fld>
            <a:endParaRPr lang="de-DE"/>
          </a:p>
        </p:txBody>
      </p:sp>
      <p:sp>
        <p:nvSpPr>
          <p:cNvPr id="4" name="Fußzeilenplatzhalter 6">
            <a:extLst>
              <a:ext uri="{FF2B5EF4-FFF2-40B4-BE49-F238E27FC236}">
                <a16:creationId xmlns:a16="http://schemas.microsoft.com/office/drawing/2014/main" id="{65AA266D-CECC-FAAE-978E-8ED4364BA9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943753" y="6381328"/>
            <a:ext cx="9408831" cy="214552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12" name="Foliennummernplatzhalter 7">
            <a:extLst>
              <a:ext uri="{FF2B5EF4-FFF2-40B4-BE49-F238E27FC236}">
                <a16:creationId xmlns:a16="http://schemas.microsoft.com/office/drawing/2014/main" id="{3F4EFF0A-7131-1B8F-6E3A-D62BFC71CD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24013" y="6381328"/>
            <a:ext cx="360000" cy="216000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8CFDFCC3-8B40-4EE5-B231-005F2F1C6A6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60E7720-E200-4DB9-AB42-74BC7931B8F5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 bwMode="gray">
          <a:xfrm>
            <a:off x="4367213" y="4005064"/>
            <a:ext cx="3457575" cy="2015676"/>
          </a:xfrm>
        </p:spPr>
        <p:txBody>
          <a:bodyPr/>
          <a:lstStyle>
            <a:lvl1pPr>
              <a:spcAft>
                <a:spcPts val="200"/>
              </a:spcAft>
              <a:defRPr>
                <a:solidFill>
                  <a:schemeClr val="accent6"/>
                </a:solidFill>
              </a:defRPr>
            </a:lvl1pPr>
            <a:lvl2pPr>
              <a:spcAft>
                <a:spcPts val="200"/>
              </a:spcAft>
              <a:defRPr>
                <a:solidFill>
                  <a:schemeClr val="tx2"/>
                </a:solidFill>
              </a:defRPr>
            </a:lvl2pPr>
            <a:lvl3pPr>
              <a:spcAft>
                <a:spcPts val="200"/>
              </a:spcAft>
              <a:defRPr>
                <a:solidFill>
                  <a:schemeClr val="tx2"/>
                </a:solidFill>
              </a:defRPr>
            </a:lvl3pPr>
            <a:lvl4pPr>
              <a:spcAft>
                <a:spcPts val="200"/>
              </a:spcAft>
              <a:defRPr>
                <a:solidFill>
                  <a:schemeClr val="tx2"/>
                </a:solidFill>
              </a:defRPr>
            </a:lvl4pPr>
            <a:lvl5pPr>
              <a:spcAft>
                <a:spcPts val="200"/>
              </a:spcAft>
              <a:defRPr>
                <a:solidFill>
                  <a:schemeClr val="tx2"/>
                </a:solidFill>
              </a:defRPr>
            </a:lvl5pPr>
            <a:lvl6pPr>
              <a:spcAft>
                <a:spcPts val="200"/>
              </a:spcAft>
              <a:defRPr>
                <a:solidFill>
                  <a:schemeClr val="tx2"/>
                </a:solidFill>
              </a:defRPr>
            </a:lvl6pPr>
            <a:lvl7pPr>
              <a:spcAft>
                <a:spcPts val="200"/>
              </a:spcAft>
              <a:defRPr>
                <a:solidFill>
                  <a:schemeClr val="tx2"/>
                </a:solidFill>
              </a:defRPr>
            </a:lvl7pPr>
            <a:lvl8pPr>
              <a:spcAft>
                <a:spcPts val="200"/>
              </a:spcAft>
              <a:defRPr>
                <a:solidFill>
                  <a:schemeClr val="tx2"/>
                </a:solidFill>
              </a:defRPr>
            </a:lvl8pPr>
            <a:lvl9pPr>
              <a:spcAft>
                <a:spcPts val="200"/>
              </a:spcAft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8D1CB9BA-DB08-442B-BB4B-78414B60D076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 bwMode="gray">
          <a:xfrm>
            <a:off x="8256588" y="4005064"/>
            <a:ext cx="3527423" cy="2015676"/>
          </a:xfrm>
        </p:spPr>
        <p:txBody>
          <a:bodyPr/>
          <a:lstStyle>
            <a:lvl1pPr>
              <a:spcAft>
                <a:spcPts val="200"/>
              </a:spcAft>
              <a:defRPr>
                <a:solidFill>
                  <a:schemeClr val="accent6"/>
                </a:solidFill>
              </a:defRPr>
            </a:lvl1pPr>
            <a:lvl2pPr>
              <a:spcAft>
                <a:spcPts val="200"/>
              </a:spcAft>
              <a:defRPr>
                <a:solidFill>
                  <a:schemeClr val="tx2"/>
                </a:solidFill>
              </a:defRPr>
            </a:lvl2pPr>
            <a:lvl3pPr>
              <a:spcAft>
                <a:spcPts val="200"/>
              </a:spcAft>
              <a:defRPr>
                <a:solidFill>
                  <a:schemeClr val="tx2"/>
                </a:solidFill>
              </a:defRPr>
            </a:lvl3pPr>
            <a:lvl4pPr>
              <a:spcAft>
                <a:spcPts val="200"/>
              </a:spcAft>
              <a:defRPr>
                <a:solidFill>
                  <a:schemeClr val="tx2"/>
                </a:solidFill>
              </a:defRPr>
            </a:lvl4pPr>
            <a:lvl5pPr>
              <a:spcAft>
                <a:spcPts val="200"/>
              </a:spcAft>
              <a:defRPr>
                <a:solidFill>
                  <a:schemeClr val="tx2"/>
                </a:solidFill>
              </a:defRPr>
            </a:lvl5pPr>
            <a:lvl6pPr>
              <a:spcAft>
                <a:spcPts val="200"/>
              </a:spcAft>
              <a:defRPr>
                <a:solidFill>
                  <a:schemeClr val="tx2"/>
                </a:solidFill>
              </a:defRPr>
            </a:lvl6pPr>
            <a:lvl7pPr>
              <a:spcAft>
                <a:spcPts val="200"/>
              </a:spcAft>
              <a:defRPr>
                <a:solidFill>
                  <a:schemeClr val="tx2"/>
                </a:solidFill>
              </a:defRPr>
            </a:lvl7pPr>
            <a:lvl8pPr>
              <a:spcAft>
                <a:spcPts val="200"/>
              </a:spcAft>
              <a:defRPr>
                <a:solidFill>
                  <a:schemeClr val="tx2"/>
                </a:solidFill>
              </a:defRPr>
            </a:lvl8pPr>
            <a:lvl9pPr>
              <a:spcAft>
                <a:spcPts val="200"/>
              </a:spcAft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90" y="4005064"/>
            <a:ext cx="3527424" cy="2015676"/>
          </a:xfrm>
        </p:spPr>
        <p:txBody>
          <a:bodyPr/>
          <a:lstStyle>
            <a:lvl1pPr>
              <a:spcAft>
                <a:spcPts val="200"/>
              </a:spcAft>
              <a:defRPr>
                <a:solidFill>
                  <a:schemeClr val="accent6"/>
                </a:solidFill>
              </a:defRPr>
            </a:lvl1pPr>
            <a:lvl2pPr>
              <a:spcAft>
                <a:spcPts val="200"/>
              </a:spcAft>
              <a:defRPr>
                <a:solidFill>
                  <a:schemeClr val="tx2"/>
                </a:solidFill>
              </a:defRPr>
            </a:lvl2pPr>
            <a:lvl3pPr>
              <a:spcAft>
                <a:spcPts val="200"/>
              </a:spcAft>
              <a:defRPr>
                <a:solidFill>
                  <a:schemeClr val="tx2"/>
                </a:solidFill>
              </a:defRPr>
            </a:lvl3pPr>
            <a:lvl4pPr>
              <a:spcAft>
                <a:spcPts val="200"/>
              </a:spcAft>
              <a:defRPr>
                <a:solidFill>
                  <a:schemeClr val="tx2"/>
                </a:solidFill>
              </a:defRPr>
            </a:lvl4pPr>
            <a:lvl5pPr>
              <a:spcAft>
                <a:spcPts val="200"/>
              </a:spcAft>
              <a:defRPr>
                <a:solidFill>
                  <a:schemeClr val="tx2"/>
                </a:solidFill>
              </a:defRPr>
            </a:lvl5pPr>
            <a:lvl6pPr>
              <a:spcAft>
                <a:spcPts val="200"/>
              </a:spcAft>
              <a:defRPr>
                <a:solidFill>
                  <a:schemeClr val="tx2"/>
                </a:solidFill>
              </a:defRPr>
            </a:lvl6pPr>
            <a:lvl7pPr>
              <a:spcAft>
                <a:spcPts val="200"/>
              </a:spcAft>
              <a:defRPr>
                <a:solidFill>
                  <a:schemeClr val="tx2"/>
                </a:solidFill>
              </a:defRPr>
            </a:lvl7pPr>
            <a:lvl8pPr>
              <a:spcAft>
                <a:spcPts val="200"/>
              </a:spcAft>
              <a:defRPr>
                <a:solidFill>
                  <a:schemeClr val="tx2"/>
                </a:solidFill>
              </a:defRPr>
            </a:lvl8pPr>
            <a:lvl9pPr>
              <a:spcAft>
                <a:spcPts val="200"/>
              </a:spcAft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8" y="6085294"/>
            <a:ext cx="11376022" cy="224002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Fußnote/Quellenangab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E8CB5280-FF36-45FF-A7EA-8A788876514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191343" y="1556792"/>
            <a:ext cx="3876657" cy="2232248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AF7A689D-901E-4B0D-900B-83F0EE07FBD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4223793" y="1556792"/>
            <a:ext cx="3744416" cy="2232248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AE73C007-3BC4-4F4D-B146-DBF572331A7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124000" y="1556792"/>
            <a:ext cx="3876656" cy="2232248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E32DBD2C-309A-4CD1-AF4F-1A474F6346E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3D89C1AA-30ED-4138-885A-3F45EE066F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815122"/>
            <a:ext cx="11376000" cy="360008"/>
          </a:xfrm>
        </p:spPr>
        <p:txBody>
          <a:bodyPr tIns="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accent6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accent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9pPr>
          </a:lstStyle>
          <a:p>
            <a:pPr lvl="0"/>
            <a:r>
              <a:rPr lang="de-DE"/>
              <a:t>Zusatz zum Folientitel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52CE7EE-D83C-EE92-89B9-6919DD99E45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78711" y="324817"/>
            <a:ext cx="803098" cy="211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72524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mit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5">
            <a:extLst>
              <a:ext uri="{FF2B5EF4-FFF2-40B4-BE49-F238E27FC236}">
                <a16:creationId xmlns:a16="http://schemas.microsoft.com/office/drawing/2014/main" id="{7A8D2428-95D9-2604-5406-8CCDB00A649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1293" y="6381328"/>
            <a:ext cx="766235" cy="216024"/>
          </a:xfrm>
          <a:prstGeom prst="rect">
            <a:avLst/>
          </a:prstGeom>
        </p:spPr>
        <p:txBody>
          <a:bodyPr vert="horz" wrap="none" lIns="0" tIns="36000" rIns="0" bIns="0" rtlCol="0" anchor="t">
            <a:noAutofit/>
          </a:bodyPr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fld id="{7A40D017-28AD-D447-9448-5370F79E3394}" type="datetime1">
              <a:rPr lang="de-DE" smtClean="0"/>
              <a:t>19.12.24</a:t>
            </a:fld>
            <a:endParaRPr lang="de-DE"/>
          </a:p>
        </p:txBody>
      </p:sp>
      <p:sp>
        <p:nvSpPr>
          <p:cNvPr id="4" name="Fußzeilenplatzhalter 6">
            <a:extLst>
              <a:ext uri="{FF2B5EF4-FFF2-40B4-BE49-F238E27FC236}">
                <a16:creationId xmlns:a16="http://schemas.microsoft.com/office/drawing/2014/main" id="{3233127D-5595-965A-8563-44DDCE7B9E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943753" y="6381328"/>
            <a:ext cx="9408831" cy="214552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12" name="Foliennummernplatzhalter 7">
            <a:extLst>
              <a:ext uri="{FF2B5EF4-FFF2-40B4-BE49-F238E27FC236}">
                <a16:creationId xmlns:a16="http://schemas.microsoft.com/office/drawing/2014/main" id="{B36FC1C7-FDD4-E3FC-C326-10FDFD368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24013" y="6381328"/>
            <a:ext cx="360000" cy="216000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8CFDFCC3-8B40-4EE5-B231-005F2F1C6A6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8AAAFE53-B217-4863-83D4-FC060BAB860C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 bwMode="gray">
          <a:xfrm>
            <a:off x="9264632" y="4005064"/>
            <a:ext cx="2520000" cy="2016224"/>
          </a:xfrm>
        </p:spPr>
        <p:txBody>
          <a:bodyPr/>
          <a:lstStyle>
            <a:lvl1pPr>
              <a:spcAft>
                <a:spcPts val="200"/>
              </a:spcAft>
              <a:defRPr>
                <a:solidFill>
                  <a:schemeClr val="accent6"/>
                </a:solidFill>
              </a:defRPr>
            </a:lvl1pPr>
            <a:lvl2pPr>
              <a:spcAft>
                <a:spcPts val="200"/>
              </a:spcAft>
              <a:defRPr>
                <a:solidFill>
                  <a:schemeClr val="tx2"/>
                </a:solidFill>
              </a:defRPr>
            </a:lvl2pPr>
            <a:lvl3pPr>
              <a:spcAft>
                <a:spcPts val="200"/>
              </a:spcAft>
              <a:defRPr>
                <a:solidFill>
                  <a:schemeClr val="tx2"/>
                </a:solidFill>
              </a:defRPr>
            </a:lvl3pPr>
            <a:lvl4pPr>
              <a:spcAft>
                <a:spcPts val="200"/>
              </a:spcAft>
              <a:defRPr>
                <a:solidFill>
                  <a:schemeClr val="tx2"/>
                </a:solidFill>
              </a:defRPr>
            </a:lvl4pPr>
            <a:lvl5pPr>
              <a:spcAft>
                <a:spcPts val="200"/>
              </a:spcAft>
              <a:defRPr>
                <a:solidFill>
                  <a:schemeClr val="tx2"/>
                </a:solidFill>
              </a:defRPr>
            </a:lvl5pPr>
            <a:lvl6pPr>
              <a:spcAft>
                <a:spcPts val="200"/>
              </a:spcAft>
              <a:defRPr>
                <a:solidFill>
                  <a:schemeClr val="tx2"/>
                </a:solidFill>
              </a:defRPr>
            </a:lvl6pPr>
            <a:lvl7pPr>
              <a:spcAft>
                <a:spcPts val="200"/>
              </a:spcAft>
              <a:defRPr>
                <a:solidFill>
                  <a:schemeClr val="tx2"/>
                </a:solidFill>
              </a:defRPr>
            </a:lvl7pPr>
            <a:lvl8pPr>
              <a:spcAft>
                <a:spcPts val="200"/>
              </a:spcAft>
              <a:defRPr>
                <a:solidFill>
                  <a:schemeClr val="tx2"/>
                </a:solidFill>
              </a:defRPr>
            </a:lvl8pPr>
            <a:lvl9pPr>
              <a:spcAft>
                <a:spcPts val="200"/>
              </a:spcAft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60E7720-E200-4DB9-AB42-74BC7931B8F5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 bwMode="gray">
          <a:xfrm>
            <a:off x="3359696" y="4004516"/>
            <a:ext cx="2520000" cy="2016224"/>
          </a:xfrm>
        </p:spPr>
        <p:txBody>
          <a:bodyPr/>
          <a:lstStyle>
            <a:lvl1pPr>
              <a:spcAft>
                <a:spcPts val="200"/>
              </a:spcAft>
              <a:defRPr>
                <a:solidFill>
                  <a:schemeClr val="accent6"/>
                </a:solidFill>
              </a:defRPr>
            </a:lvl1pPr>
            <a:lvl2pPr>
              <a:spcAft>
                <a:spcPts val="200"/>
              </a:spcAft>
              <a:defRPr>
                <a:solidFill>
                  <a:schemeClr val="tx2"/>
                </a:solidFill>
              </a:defRPr>
            </a:lvl2pPr>
            <a:lvl3pPr>
              <a:spcAft>
                <a:spcPts val="200"/>
              </a:spcAft>
              <a:defRPr>
                <a:solidFill>
                  <a:schemeClr val="tx2"/>
                </a:solidFill>
              </a:defRPr>
            </a:lvl3pPr>
            <a:lvl4pPr>
              <a:spcAft>
                <a:spcPts val="200"/>
              </a:spcAft>
              <a:defRPr>
                <a:solidFill>
                  <a:schemeClr val="tx2"/>
                </a:solidFill>
              </a:defRPr>
            </a:lvl4pPr>
            <a:lvl5pPr>
              <a:spcAft>
                <a:spcPts val="200"/>
              </a:spcAft>
              <a:defRPr>
                <a:solidFill>
                  <a:schemeClr val="tx2"/>
                </a:solidFill>
              </a:defRPr>
            </a:lvl5pPr>
            <a:lvl6pPr>
              <a:spcAft>
                <a:spcPts val="200"/>
              </a:spcAft>
              <a:defRPr>
                <a:solidFill>
                  <a:schemeClr val="tx2"/>
                </a:solidFill>
              </a:defRPr>
            </a:lvl6pPr>
            <a:lvl7pPr>
              <a:spcAft>
                <a:spcPts val="200"/>
              </a:spcAft>
              <a:defRPr>
                <a:solidFill>
                  <a:schemeClr val="tx2"/>
                </a:solidFill>
              </a:defRPr>
            </a:lvl7pPr>
            <a:lvl8pPr>
              <a:spcAft>
                <a:spcPts val="200"/>
              </a:spcAft>
              <a:defRPr>
                <a:solidFill>
                  <a:schemeClr val="tx2"/>
                </a:solidFill>
              </a:defRPr>
            </a:lvl8pPr>
            <a:lvl9pPr>
              <a:spcAft>
                <a:spcPts val="200"/>
              </a:spcAft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8D1CB9BA-DB08-442B-BB4B-78414B60D076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 bwMode="gray">
          <a:xfrm>
            <a:off x="6312024" y="4004516"/>
            <a:ext cx="2520000" cy="2016224"/>
          </a:xfrm>
        </p:spPr>
        <p:txBody>
          <a:bodyPr/>
          <a:lstStyle>
            <a:lvl1pPr>
              <a:spcAft>
                <a:spcPts val="200"/>
              </a:spcAft>
              <a:defRPr>
                <a:solidFill>
                  <a:schemeClr val="accent6"/>
                </a:solidFill>
              </a:defRPr>
            </a:lvl1pPr>
            <a:lvl2pPr>
              <a:spcAft>
                <a:spcPts val="200"/>
              </a:spcAft>
              <a:defRPr>
                <a:solidFill>
                  <a:schemeClr val="tx2"/>
                </a:solidFill>
              </a:defRPr>
            </a:lvl2pPr>
            <a:lvl3pPr>
              <a:spcAft>
                <a:spcPts val="200"/>
              </a:spcAft>
              <a:defRPr>
                <a:solidFill>
                  <a:schemeClr val="tx2"/>
                </a:solidFill>
              </a:defRPr>
            </a:lvl3pPr>
            <a:lvl4pPr>
              <a:spcAft>
                <a:spcPts val="200"/>
              </a:spcAft>
              <a:defRPr>
                <a:solidFill>
                  <a:schemeClr val="tx2"/>
                </a:solidFill>
              </a:defRPr>
            </a:lvl4pPr>
            <a:lvl5pPr>
              <a:spcAft>
                <a:spcPts val="200"/>
              </a:spcAft>
              <a:defRPr>
                <a:solidFill>
                  <a:schemeClr val="tx2"/>
                </a:solidFill>
              </a:defRPr>
            </a:lvl5pPr>
            <a:lvl6pPr>
              <a:spcAft>
                <a:spcPts val="200"/>
              </a:spcAft>
              <a:defRPr>
                <a:solidFill>
                  <a:schemeClr val="tx2"/>
                </a:solidFill>
              </a:defRPr>
            </a:lvl6pPr>
            <a:lvl7pPr>
              <a:spcAft>
                <a:spcPts val="200"/>
              </a:spcAft>
              <a:defRPr>
                <a:solidFill>
                  <a:schemeClr val="tx2"/>
                </a:solidFill>
              </a:defRPr>
            </a:lvl7pPr>
            <a:lvl8pPr>
              <a:spcAft>
                <a:spcPts val="200"/>
              </a:spcAft>
              <a:defRPr>
                <a:solidFill>
                  <a:schemeClr val="tx2"/>
                </a:solidFill>
              </a:defRPr>
            </a:lvl8pPr>
            <a:lvl9pPr>
              <a:spcAft>
                <a:spcPts val="200"/>
              </a:spcAft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4004516"/>
            <a:ext cx="2520000" cy="2016224"/>
          </a:xfrm>
        </p:spPr>
        <p:txBody>
          <a:bodyPr/>
          <a:lstStyle>
            <a:lvl1pPr>
              <a:spcAft>
                <a:spcPts val="200"/>
              </a:spcAft>
              <a:defRPr>
                <a:solidFill>
                  <a:schemeClr val="accent6"/>
                </a:solidFill>
              </a:defRPr>
            </a:lvl1pPr>
            <a:lvl2pPr>
              <a:spcAft>
                <a:spcPts val="200"/>
              </a:spcAft>
              <a:defRPr>
                <a:solidFill>
                  <a:schemeClr val="tx2"/>
                </a:solidFill>
              </a:defRPr>
            </a:lvl2pPr>
            <a:lvl3pPr>
              <a:spcAft>
                <a:spcPts val="200"/>
              </a:spcAft>
              <a:defRPr>
                <a:solidFill>
                  <a:schemeClr val="tx2"/>
                </a:solidFill>
              </a:defRPr>
            </a:lvl3pPr>
            <a:lvl4pPr>
              <a:spcAft>
                <a:spcPts val="200"/>
              </a:spcAft>
              <a:defRPr>
                <a:solidFill>
                  <a:schemeClr val="tx2"/>
                </a:solidFill>
              </a:defRPr>
            </a:lvl4pPr>
            <a:lvl5pPr>
              <a:spcAft>
                <a:spcPts val="200"/>
              </a:spcAft>
              <a:defRPr>
                <a:solidFill>
                  <a:schemeClr val="tx2"/>
                </a:solidFill>
              </a:defRPr>
            </a:lvl5pPr>
            <a:lvl6pPr>
              <a:spcAft>
                <a:spcPts val="200"/>
              </a:spcAft>
              <a:defRPr>
                <a:solidFill>
                  <a:schemeClr val="tx2"/>
                </a:solidFill>
              </a:defRPr>
            </a:lvl6pPr>
            <a:lvl7pPr>
              <a:spcAft>
                <a:spcPts val="200"/>
              </a:spcAft>
              <a:defRPr>
                <a:solidFill>
                  <a:schemeClr val="tx2"/>
                </a:solidFill>
              </a:defRPr>
            </a:lvl7pPr>
            <a:lvl8pPr>
              <a:spcAft>
                <a:spcPts val="200"/>
              </a:spcAft>
              <a:defRPr>
                <a:solidFill>
                  <a:schemeClr val="tx2"/>
                </a:solidFill>
              </a:defRPr>
            </a:lvl8pPr>
            <a:lvl9pPr>
              <a:spcAft>
                <a:spcPts val="200"/>
              </a:spcAft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8" y="6093296"/>
            <a:ext cx="11376022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Fußnote/Quellenangab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E8CB5280-FF36-45FF-A7EA-8A788876514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191344" y="1556792"/>
            <a:ext cx="2879718" cy="2232248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AF7A689D-901E-4B0D-900B-83F0EE07FBD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3215992" y="1556792"/>
            <a:ext cx="2808000" cy="2232248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AE73C007-3BC4-4F4D-B146-DBF572331A7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6168008" y="1556792"/>
            <a:ext cx="2808000" cy="2232248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C14F9E91-B48F-4001-B73E-2BE94299F49C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9120336" y="1556792"/>
            <a:ext cx="2880320" cy="2232248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2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EE904B8F-D1F0-4842-B327-A936AFCF337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2" name="Textplatzhalter 9">
            <a:extLst>
              <a:ext uri="{FF2B5EF4-FFF2-40B4-BE49-F238E27FC236}">
                <a16:creationId xmlns:a16="http://schemas.microsoft.com/office/drawing/2014/main" id="{5876DD2E-A3CC-4078-9C1B-FBA47046FC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815122"/>
            <a:ext cx="11376000" cy="360008"/>
          </a:xfrm>
        </p:spPr>
        <p:txBody>
          <a:bodyPr tIns="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accent6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accent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accent1"/>
                </a:solidFill>
                <a:latin typeface="+mn-lt"/>
              </a:defRPr>
            </a:lvl9pPr>
          </a:lstStyle>
          <a:p>
            <a:pPr lvl="0"/>
            <a:r>
              <a:rPr lang="de-DE"/>
              <a:t>Zusatz zum Folientitel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239F865-3C35-F5B7-0A2C-023DD18269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78711" y="324817"/>
            <a:ext cx="803098" cy="211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89024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5">
            <a:extLst>
              <a:ext uri="{FF2B5EF4-FFF2-40B4-BE49-F238E27FC236}">
                <a16:creationId xmlns:a16="http://schemas.microsoft.com/office/drawing/2014/main" id="{A169E3E4-78D6-3189-A0CA-625302543C9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271464" y="6381328"/>
            <a:ext cx="766235" cy="216024"/>
          </a:xfrm>
          <a:prstGeom prst="rect">
            <a:avLst/>
          </a:prstGeom>
        </p:spPr>
        <p:txBody>
          <a:bodyPr vert="horz" wrap="none" lIns="0" tIns="36000" rIns="0" bIns="0" rtlCol="0" anchor="t">
            <a:noAutofit/>
          </a:bodyPr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fld id="{1E90F640-409C-074C-B1E2-847B9551B2B7}" type="datetime1">
              <a:rPr lang="de-DE" smtClean="0"/>
              <a:t>19.12.24</a:t>
            </a:fld>
            <a:endParaRPr lang="de-DE"/>
          </a:p>
        </p:txBody>
      </p:sp>
      <p:sp>
        <p:nvSpPr>
          <p:cNvPr id="5" name="Fußzeilenplatzhalter 6">
            <a:extLst>
              <a:ext uri="{FF2B5EF4-FFF2-40B4-BE49-F238E27FC236}">
                <a16:creationId xmlns:a16="http://schemas.microsoft.com/office/drawing/2014/main" id="{9FD229CF-850D-7F3F-8BD0-A5E3BB0DE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109217" y="6381328"/>
            <a:ext cx="9243367" cy="214552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6" name="Foliennummernplatzhalter 7">
            <a:extLst>
              <a:ext uri="{FF2B5EF4-FFF2-40B4-BE49-F238E27FC236}">
                <a16:creationId xmlns:a16="http://schemas.microsoft.com/office/drawing/2014/main" id="{13C4AB91-8C19-9DE4-636F-489D8B2924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24013" y="6381328"/>
            <a:ext cx="360000" cy="216000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8CFDFCC3-8B40-4EE5-B231-005F2F1C6A6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92B00FF-E2A5-583D-1C88-725949BD5D00}"/>
              </a:ext>
            </a:extLst>
          </p:cNvPr>
          <p:cNvSpPr/>
          <p:nvPr userDrawn="1"/>
        </p:nvSpPr>
        <p:spPr bwMode="gray">
          <a:xfrm>
            <a:off x="263352" y="6309320"/>
            <a:ext cx="11665296" cy="432048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err="1">
              <a:solidFill>
                <a:schemeClr val="tx1"/>
              </a:solidFill>
            </a:endParaRPr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84628E80-C1DB-5805-0799-752988274F8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8970112" y="2925016"/>
            <a:ext cx="2813901" cy="1512168"/>
          </a:xfrm>
        </p:spPr>
        <p:txBody>
          <a:bodyPr tIns="180000" anchor="t" anchorCtr="0"/>
          <a:lstStyle>
            <a:lvl1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 sz="1400">
                <a:solidFill>
                  <a:schemeClr val="bg2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 sz="1400">
                <a:solidFill>
                  <a:schemeClr val="bg2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 sz="1400">
                <a:solidFill>
                  <a:schemeClr val="bg2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 sz="1400">
                <a:solidFill>
                  <a:schemeClr val="bg2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 sz="140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 sz="140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 sz="140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 sz="1400">
                <a:solidFill>
                  <a:schemeClr val="tx1"/>
                </a:solidFill>
              </a:defRPr>
            </a:lvl9pPr>
          </a:lstStyle>
          <a:p>
            <a:r>
              <a:rPr lang="de-DE"/>
              <a:t>Vorname Nachnam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endParaRPr lang="de-DE"/>
          </a:p>
        </p:txBody>
      </p:sp>
      <p:sp>
        <p:nvSpPr>
          <p:cNvPr id="18" name="Textplatzhalter 4">
            <a:extLst>
              <a:ext uri="{FF2B5EF4-FFF2-40B4-BE49-F238E27FC236}">
                <a16:creationId xmlns:a16="http://schemas.microsoft.com/office/drawing/2014/main" id="{C89C002D-7751-379E-C040-3D26074EA51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970112" y="4437184"/>
            <a:ext cx="2813901" cy="648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 sz="1400" b="0">
                <a:solidFill>
                  <a:schemeClr val="bg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>
                <a:latin typeface="+mn-lt"/>
              </a:rPr>
              <a:t>Tel</a:t>
            </a:r>
            <a:br>
              <a:rPr lang="de-DE">
                <a:latin typeface="+mn-lt"/>
              </a:rPr>
            </a:br>
            <a:r>
              <a:rPr lang="de-DE">
                <a:latin typeface="+mn-lt"/>
              </a:rPr>
              <a:t>E-Mail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0A8D382C-7B5C-1A10-5796-8DF2E89067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880100" y="2925016"/>
            <a:ext cx="2813901" cy="1512168"/>
          </a:xfrm>
        </p:spPr>
        <p:txBody>
          <a:bodyPr tIns="180000" anchor="t" anchorCtr="0"/>
          <a:lstStyle>
            <a:lvl1pPr>
              <a:lnSpc>
                <a:spcPct val="100000"/>
              </a:lnSpc>
              <a:spcAft>
                <a:spcPts val="600"/>
              </a:spcAft>
              <a:defRPr>
                <a:solidFill>
                  <a:schemeClr val="accent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 sz="1400">
                <a:solidFill>
                  <a:schemeClr val="bg2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 sz="1400">
                <a:solidFill>
                  <a:schemeClr val="bg2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 sz="1400">
                <a:solidFill>
                  <a:schemeClr val="bg2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 sz="1400">
                <a:solidFill>
                  <a:schemeClr val="bg2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 sz="140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 sz="140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 sz="140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 sz="1400">
                <a:solidFill>
                  <a:schemeClr val="tx1"/>
                </a:solidFill>
              </a:defRPr>
            </a:lvl9pPr>
          </a:lstStyle>
          <a:p>
            <a:r>
              <a:rPr lang="de-DE"/>
              <a:t>Vorname Nachnam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endParaRPr lang="de-DE"/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BCD67E72-91E3-A8B2-233E-C6A7DDCA45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80100" y="4437184"/>
            <a:ext cx="2813901" cy="648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 sz="1400" b="0">
                <a:solidFill>
                  <a:schemeClr val="bg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>
                <a:latin typeface="+mn-lt"/>
              </a:rPr>
              <a:t>Tel</a:t>
            </a:r>
            <a:br>
              <a:rPr lang="de-DE">
                <a:latin typeface="+mn-lt"/>
              </a:rPr>
            </a:br>
            <a:r>
              <a:rPr lang="de-DE">
                <a:latin typeface="+mn-lt"/>
              </a:rPr>
              <a:t>E-Mail</a:t>
            </a:r>
          </a:p>
        </p:txBody>
      </p:sp>
      <p:sp>
        <p:nvSpPr>
          <p:cNvPr id="17" name="Rechteck: diagonal liegende Ecken abgeschnitten 16">
            <a:extLst>
              <a:ext uri="{FF2B5EF4-FFF2-40B4-BE49-F238E27FC236}">
                <a16:creationId xmlns:a16="http://schemas.microsoft.com/office/drawing/2014/main" id="{14B16D27-2CC5-87E3-2BA3-977A60EF2AF3}"/>
              </a:ext>
            </a:extLst>
          </p:cNvPr>
          <p:cNvSpPr/>
          <p:nvPr userDrawn="1"/>
        </p:nvSpPr>
        <p:spPr bwMode="gray">
          <a:xfrm flipH="1">
            <a:off x="-384720" y="-387424"/>
            <a:ext cx="10899888" cy="2952328"/>
          </a:xfrm>
          <a:prstGeom prst="snip2DiagRect">
            <a:avLst>
              <a:gd name="adj1" fmla="val 0"/>
              <a:gd name="adj2" fmla="val 19582"/>
            </a:avLst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err="1">
              <a:solidFill>
                <a:schemeClr val="tx1"/>
              </a:solidFill>
            </a:endParaRPr>
          </a:p>
        </p:txBody>
      </p:sp>
      <p:sp>
        <p:nvSpPr>
          <p:cNvPr id="19" name="Rechteck: diagonal liegende Ecken abgeschnitten 18">
            <a:extLst>
              <a:ext uri="{FF2B5EF4-FFF2-40B4-BE49-F238E27FC236}">
                <a16:creationId xmlns:a16="http://schemas.microsoft.com/office/drawing/2014/main" id="{C87FB4CA-94B4-8353-7D05-A31AAF4C78CC}"/>
              </a:ext>
            </a:extLst>
          </p:cNvPr>
          <p:cNvSpPr/>
          <p:nvPr userDrawn="1"/>
        </p:nvSpPr>
        <p:spPr bwMode="gray">
          <a:xfrm flipH="1">
            <a:off x="-456729" y="-459432"/>
            <a:ext cx="4674930" cy="6480720"/>
          </a:xfrm>
          <a:prstGeom prst="snip2DiagRect">
            <a:avLst>
              <a:gd name="adj1" fmla="val 0"/>
              <a:gd name="adj2" fmla="val 12271"/>
            </a:avLst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err="1">
              <a:solidFill>
                <a:schemeClr val="tx1"/>
              </a:solidFill>
            </a:endParaRPr>
          </a:p>
        </p:txBody>
      </p:sp>
      <p:sp>
        <p:nvSpPr>
          <p:cNvPr id="2" name="Rechteck: diagonal liegende Ecken abgeschnitten 1">
            <a:extLst>
              <a:ext uri="{FF2B5EF4-FFF2-40B4-BE49-F238E27FC236}">
                <a16:creationId xmlns:a16="http://schemas.microsoft.com/office/drawing/2014/main" id="{F333232F-46DA-2654-1336-D95751B5561C}"/>
              </a:ext>
            </a:extLst>
          </p:cNvPr>
          <p:cNvSpPr/>
          <p:nvPr userDrawn="1"/>
        </p:nvSpPr>
        <p:spPr bwMode="gray">
          <a:xfrm flipH="1">
            <a:off x="407368" y="880638"/>
            <a:ext cx="5000646" cy="4852618"/>
          </a:xfrm>
          <a:prstGeom prst="snip2DiagRect">
            <a:avLst>
              <a:gd name="adj1" fmla="val 0"/>
              <a:gd name="adj2" fmla="val 11880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err="1">
              <a:solidFill>
                <a:schemeClr val="tx1"/>
              </a:solidFill>
            </a:endParaRP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643EC29B-E1DC-5A73-FF43-75258101107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767368" y="1557338"/>
            <a:ext cx="4104496" cy="3499218"/>
          </a:xfrm>
        </p:spPr>
        <p:txBody>
          <a:bodyPr lIns="0" tIns="0" rIns="0" bIns="0" anchor="ctr" anchorCtr="0"/>
          <a:lstStyle>
            <a:lvl1pPr algn="l">
              <a:lnSpc>
                <a:spcPct val="90000"/>
              </a:lnSpc>
              <a:spcBef>
                <a:spcPts val="0"/>
              </a:spcBef>
              <a:defRPr sz="3600" b="1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/>
              <a:t>Vielen Dank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FEB910CB-2997-7EDE-A832-EF113E74FE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978711" y="324817"/>
            <a:ext cx="803098" cy="211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91051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83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7">
            <a:extLst>
              <a:ext uri="{FF2B5EF4-FFF2-40B4-BE49-F238E27FC236}">
                <a16:creationId xmlns:a16="http://schemas.microsoft.com/office/drawing/2014/main" id="{EC0DF30C-73FC-4FA3-03F5-B65940842F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24013" y="6381328"/>
            <a:ext cx="360000" cy="216000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8CFDFCC3-8B40-4EE5-B231-005F2F1C6A6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E92B9E69-8BEA-8EAD-79E4-77D84F42F63C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271464" y="6381328"/>
            <a:ext cx="766235" cy="216024"/>
          </a:xfrm>
          <a:prstGeom prst="rect">
            <a:avLst/>
          </a:prstGeom>
        </p:spPr>
        <p:txBody>
          <a:bodyPr vert="horz" wrap="none" lIns="0" tIns="36000" rIns="0" bIns="0" rtlCol="0" anchor="t">
            <a:noAutofit/>
          </a:bodyPr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fld id="{FEC51AE5-BB17-574C-81B3-CD824A3FF34E}" type="datetime1">
              <a:rPr lang="de-DE" smtClean="0"/>
              <a:t>19.12.24</a:t>
            </a:fld>
            <a:endParaRPr lang="de-DE"/>
          </a:p>
        </p:txBody>
      </p:sp>
      <p:sp>
        <p:nvSpPr>
          <p:cNvPr id="11" name="Fußzeilenplatzhalter 6">
            <a:extLst>
              <a:ext uri="{FF2B5EF4-FFF2-40B4-BE49-F238E27FC236}">
                <a16:creationId xmlns:a16="http://schemas.microsoft.com/office/drawing/2014/main" id="{BA454BF9-FC6C-93BE-111D-D4B615B32E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109217" y="6381328"/>
            <a:ext cx="9243367" cy="214552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C9389AA9-6359-91B3-2EC9-7DD87806C62F}"/>
              </a:ext>
            </a:extLst>
          </p:cNvPr>
          <p:cNvSpPr/>
          <p:nvPr userDrawn="1"/>
        </p:nvSpPr>
        <p:spPr bwMode="gray">
          <a:xfrm>
            <a:off x="263352" y="6309320"/>
            <a:ext cx="11665296" cy="43204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err="1">
              <a:solidFill>
                <a:schemeClr val="tx1"/>
              </a:solidFill>
            </a:endParaRPr>
          </a:p>
        </p:txBody>
      </p:sp>
      <p:sp>
        <p:nvSpPr>
          <p:cNvPr id="2" name="Rechteck: diagonal liegende Ecken abgeschnitten 1">
            <a:extLst>
              <a:ext uri="{FF2B5EF4-FFF2-40B4-BE49-F238E27FC236}">
                <a16:creationId xmlns:a16="http://schemas.microsoft.com/office/drawing/2014/main" id="{8822A89A-D492-CF20-7E26-84B7E59F53C0}"/>
              </a:ext>
            </a:extLst>
          </p:cNvPr>
          <p:cNvSpPr/>
          <p:nvPr userDrawn="1"/>
        </p:nvSpPr>
        <p:spPr bwMode="gray">
          <a:xfrm flipH="1">
            <a:off x="983429" y="1557338"/>
            <a:ext cx="11017770" cy="5112022"/>
          </a:xfrm>
          <a:prstGeom prst="snip2DiagRect">
            <a:avLst>
              <a:gd name="adj1" fmla="val 0"/>
              <a:gd name="adj2" fmla="val 11285"/>
            </a:avLst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err="1">
              <a:solidFill>
                <a:schemeClr val="tx1"/>
              </a:solidFill>
            </a:endParaRPr>
          </a:p>
        </p:txBody>
      </p:sp>
      <p:sp>
        <p:nvSpPr>
          <p:cNvPr id="3" name="Titel 1">
            <a:extLst>
              <a:ext uri="{FF2B5EF4-FFF2-40B4-BE49-F238E27FC236}">
                <a16:creationId xmlns:a16="http://schemas.microsoft.com/office/drawing/2014/main" id="{DA482013-0B19-03DC-05D4-1D52A303954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6311900" y="2492896"/>
            <a:ext cx="5472113" cy="1295400"/>
          </a:xfrm>
        </p:spPr>
        <p:txBody>
          <a:bodyPr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3600" b="1" i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/>
              <a:t>Vielen Dank</a:t>
            </a:r>
          </a:p>
        </p:txBody>
      </p:sp>
      <p:sp>
        <p:nvSpPr>
          <p:cNvPr id="4" name="Untertitel 2">
            <a:extLst>
              <a:ext uri="{FF2B5EF4-FFF2-40B4-BE49-F238E27FC236}">
                <a16:creationId xmlns:a16="http://schemas.microsoft.com/office/drawing/2014/main" id="{83D2CC3E-08AA-DB20-5BF9-15E8B7BBD80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6311900" y="3861048"/>
            <a:ext cx="5472113" cy="1512168"/>
          </a:xfrm>
        </p:spPr>
        <p:txBody>
          <a:bodyPr tIns="180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i="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400" b="0" i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400" b="0" i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400" b="0" i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400" b="0" i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400" b="0" i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/>
              <a:t>Vorname Nachnam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E96108C-EC03-48B7-E67D-59DAE97F7C9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310632" y="5373288"/>
            <a:ext cx="5472113" cy="648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 sz="1400" b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>
                <a:latin typeface="+mn-lt"/>
              </a:rPr>
              <a:t>Tel</a:t>
            </a:r>
            <a:br>
              <a:rPr lang="de-DE">
                <a:latin typeface="+mn-lt"/>
              </a:rPr>
            </a:br>
            <a:r>
              <a:rPr lang="de-DE">
                <a:latin typeface="+mn-lt"/>
              </a:rPr>
              <a:t>E-Mail</a:t>
            </a:r>
          </a:p>
        </p:txBody>
      </p:sp>
      <p:sp>
        <p:nvSpPr>
          <p:cNvPr id="10" name="Bildplatzhalter 1">
            <a:extLst>
              <a:ext uri="{FF2B5EF4-FFF2-40B4-BE49-F238E27FC236}">
                <a16:creationId xmlns:a16="http://schemas.microsoft.com/office/drawing/2014/main" id="{D585F617-ECE7-7DDF-8D16-DDCC5988643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190077" y="188641"/>
            <a:ext cx="5690024" cy="5472000"/>
          </a:xfrm>
          <a:prstGeom prst="snip2DiagRect">
            <a:avLst>
              <a:gd name="adj1" fmla="val 10552"/>
              <a:gd name="adj2" fmla="val 0"/>
            </a:avLst>
          </a:pr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 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A4C42BE-A693-5E41-FBA8-4AEE5DFF17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78711" y="324817"/>
            <a:ext cx="803098" cy="211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48586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DC512E-2A30-4C64-BA6C-F9BB8810EC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24013" y="6381328"/>
            <a:ext cx="360000" cy="216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CFDFCC3-8B40-4EE5-B231-005F2F1C6A6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284F5C64-0613-E330-C933-BF9F11FC9FD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1293" y="6381328"/>
            <a:ext cx="766235" cy="216024"/>
          </a:xfrm>
          <a:prstGeom prst="rect">
            <a:avLst/>
          </a:prstGeom>
        </p:spPr>
        <p:txBody>
          <a:bodyPr vert="horz" wrap="none" lIns="0" tIns="36000" rIns="0" bIns="0" rtlCol="0" anchor="t">
            <a:noAutofit/>
          </a:bodyPr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fld id="{F7B7B32E-447F-294C-B08A-CD05EDBE3D10}" type="datetime1">
              <a:rPr lang="de-DE" smtClean="0"/>
              <a:t>19.12.24</a:t>
            </a:fld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7E50444-B75E-2AA6-08F0-F124EC2D97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943753" y="6381328"/>
            <a:ext cx="9408831" cy="214552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D93DC41-2619-CC9C-9056-150815884A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78711" y="324817"/>
            <a:ext cx="803098" cy="211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48756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folie mit Bild - Logo hochka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ihandform: Form 23">
            <a:extLst>
              <a:ext uri="{FF2B5EF4-FFF2-40B4-BE49-F238E27FC236}">
                <a16:creationId xmlns:a16="http://schemas.microsoft.com/office/drawing/2014/main" id="{2E8934E8-5C8A-E10D-7691-D1AE1D3366B6}"/>
              </a:ext>
            </a:extLst>
          </p:cNvPr>
          <p:cNvSpPr/>
          <p:nvPr userDrawn="1"/>
        </p:nvSpPr>
        <p:spPr bwMode="gray">
          <a:xfrm flipH="1">
            <a:off x="1847528" y="1484783"/>
            <a:ext cx="10577250" cy="3815877"/>
          </a:xfrm>
          <a:custGeom>
            <a:avLst/>
            <a:gdLst>
              <a:gd name="connsiteX0" fmla="*/ 9935314 w 10577250"/>
              <a:gd name="connsiteY0" fmla="*/ 0 h 3851540"/>
              <a:gd name="connsiteX1" fmla="*/ 0 w 10577250"/>
              <a:gd name="connsiteY1" fmla="*/ 0 h 3851540"/>
              <a:gd name="connsiteX2" fmla="*/ 0 w 10577250"/>
              <a:gd name="connsiteY2" fmla="*/ 3851540 h 3851540"/>
              <a:gd name="connsiteX3" fmla="*/ 10577250 w 10577250"/>
              <a:gd name="connsiteY3" fmla="*/ 3851540 h 3851540"/>
              <a:gd name="connsiteX4" fmla="*/ 10577250 w 10577250"/>
              <a:gd name="connsiteY4" fmla="*/ 641936 h 3851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77250" h="3851540">
                <a:moveTo>
                  <a:pt x="9935314" y="0"/>
                </a:moveTo>
                <a:lnTo>
                  <a:pt x="0" y="0"/>
                </a:lnTo>
                <a:lnTo>
                  <a:pt x="0" y="3851540"/>
                </a:lnTo>
                <a:lnTo>
                  <a:pt x="10577250" y="3851540"/>
                </a:lnTo>
                <a:lnTo>
                  <a:pt x="10577250" y="641936"/>
                </a:lnTo>
                <a:close/>
              </a:path>
            </a:pathLst>
          </a:custGeom>
          <a:noFill/>
          <a:ln w="63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de-DE" sz="160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7" name="Datumsplatzhalter 5">
            <a:extLst>
              <a:ext uri="{FF2B5EF4-FFF2-40B4-BE49-F238E27FC236}">
                <a16:creationId xmlns:a16="http://schemas.microsoft.com/office/drawing/2014/main" id="{DF022187-E458-34C4-D48D-6A39DF43134F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43472" y="6381328"/>
            <a:ext cx="766235" cy="216024"/>
          </a:xfrm>
          <a:prstGeom prst="rect">
            <a:avLst/>
          </a:prstGeom>
        </p:spPr>
        <p:txBody>
          <a:bodyPr vert="horz" wrap="none" lIns="0" tIns="36000" rIns="0" bIns="0" rtlCol="0" anchor="t">
            <a:noAutofit/>
          </a:bodyPr>
          <a:lstStyle>
            <a:lvl1pPr algn="l">
              <a:defRPr sz="900">
                <a:ln>
                  <a:noFill/>
                </a:ln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79C376AB-ED09-B94E-8967-CD1CAA9D617E}" type="datetime1">
              <a:rPr lang="de-DE" smtClean="0"/>
              <a:t>19.12.24</a:t>
            </a:fld>
            <a:endParaRPr lang="de-DE"/>
          </a:p>
        </p:txBody>
      </p:sp>
      <p:sp>
        <p:nvSpPr>
          <p:cNvPr id="8" name="Fußzeilenplatzhalter 6">
            <a:extLst>
              <a:ext uri="{FF2B5EF4-FFF2-40B4-BE49-F238E27FC236}">
                <a16:creationId xmlns:a16="http://schemas.microsoft.com/office/drawing/2014/main" id="{CA414597-CAB2-2B6A-7B5F-D882B9FEF7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181225" y="6381328"/>
            <a:ext cx="9200835" cy="214552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l">
              <a:defRPr sz="900">
                <a:ln>
                  <a:noFill/>
                </a:ln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D6A605B3-0945-1020-1DAF-D622202188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24013" y="6381328"/>
            <a:ext cx="360000" cy="216000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r">
              <a:defRPr sz="900">
                <a:ln>
                  <a:noFill/>
                </a:ln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8CFDFCC3-8B40-4EE5-B231-005F2F1C6A6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048739FB-CC99-8477-2EC1-B05CD5078BA7}"/>
              </a:ext>
            </a:extLst>
          </p:cNvPr>
          <p:cNvSpPr/>
          <p:nvPr userDrawn="1"/>
        </p:nvSpPr>
        <p:spPr bwMode="gray">
          <a:xfrm>
            <a:off x="263352" y="6309320"/>
            <a:ext cx="11665296" cy="432048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err="1">
              <a:solidFill>
                <a:schemeClr val="tx1"/>
              </a:solidFill>
            </a:endParaRPr>
          </a:p>
        </p:txBody>
      </p:sp>
      <p:sp>
        <p:nvSpPr>
          <p:cNvPr id="22" name="Freihandform: Form 21">
            <a:extLst>
              <a:ext uri="{FF2B5EF4-FFF2-40B4-BE49-F238E27FC236}">
                <a16:creationId xmlns:a16="http://schemas.microsoft.com/office/drawing/2014/main" id="{2DECE958-ACA4-F24D-D9B9-9156000C1E77}"/>
              </a:ext>
            </a:extLst>
          </p:cNvPr>
          <p:cNvSpPr/>
          <p:nvPr userDrawn="1"/>
        </p:nvSpPr>
        <p:spPr bwMode="gray">
          <a:xfrm flipH="1">
            <a:off x="-237908" y="-351580"/>
            <a:ext cx="8278124" cy="6659428"/>
          </a:xfrm>
          <a:custGeom>
            <a:avLst/>
            <a:gdLst>
              <a:gd name="connsiteX0" fmla="*/ 8278124 w 8278124"/>
              <a:gd name="connsiteY0" fmla="*/ 0 h 6659428"/>
              <a:gd name="connsiteX1" fmla="*/ 0 w 8278124"/>
              <a:gd name="connsiteY1" fmla="*/ 0 h 6659428"/>
              <a:gd name="connsiteX2" fmla="*/ 0 w 8278124"/>
              <a:gd name="connsiteY2" fmla="*/ 6133733 h 6659428"/>
              <a:gd name="connsiteX3" fmla="*/ 525695 w 8278124"/>
              <a:gd name="connsiteY3" fmla="*/ 6659428 h 6659428"/>
              <a:gd name="connsiteX4" fmla="*/ 8278124 w 8278124"/>
              <a:gd name="connsiteY4" fmla="*/ 6659428 h 6659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78124" h="6659428">
                <a:moveTo>
                  <a:pt x="8278124" y="0"/>
                </a:moveTo>
                <a:lnTo>
                  <a:pt x="0" y="0"/>
                </a:lnTo>
                <a:lnTo>
                  <a:pt x="0" y="6133733"/>
                </a:lnTo>
                <a:lnTo>
                  <a:pt x="525695" y="6659428"/>
                </a:lnTo>
                <a:lnTo>
                  <a:pt x="8278124" y="6659428"/>
                </a:lnTo>
                <a:close/>
              </a:path>
            </a:pathLst>
          </a:cu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600" err="1">
              <a:solidFill>
                <a:schemeClr val="tx1"/>
              </a:solidFill>
            </a:endParaRPr>
          </a:p>
        </p:txBody>
      </p:sp>
      <p:sp>
        <p:nvSpPr>
          <p:cNvPr id="6" name="Rechteck: diagonal liegende Ecken abgeschnitten 5">
            <a:extLst>
              <a:ext uri="{FF2B5EF4-FFF2-40B4-BE49-F238E27FC236}">
                <a16:creationId xmlns:a16="http://schemas.microsoft.com/office/drawing/2014/main" id="{629F4425-AE96-7849-8A73-5CD2BECA2D4A}"/>
              </a:ext>
            </a:extLst>
          </p:cNvPr>
          <p:cNvSpPr/>
          <p:nvPr userDrawn="1"/>
        </p:nvSpPr>
        <p:spPr bwMode="gray">
          <a:xfrm flipH="1">
            <a:off x="191342" y="1844792"/>
            <a:ext cx="8641508" cy="4824567"/>
          </a:xfrm>
          <a:prstGeom prst="snip2DiagRect">
            <a:avLst>
              <a:gd name="adj1" fmla="val 0"/>
              <a:gd name="adj2" fmla="val 11873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err="1">
              <a:solidFill>
                <a:schemeClr val="tx1"/>
              </a:solidFill>
            </a:endParaRP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B35D9B00-FE8E-52BE-178D-04F6695C27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768624" y="5444677"/>
            <a:ext cx="4824258" cy="360040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2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Ort, xx. Monat 20xx</a:t>
            </a:r>
          </a:p>
        </p:txBody>
      </p:sp>
      <p:sp>
        <p:nvSpPr>
          <p:cNvPr id="26" name="Rechteck: diagonal liegende Ecken abgeschnitten 25">
            <a:extLst>
              <a:ext uri="{FF2B5EF4-FFF2-40B4-BE49-F238E27FC236}">
                <a16:creationId xmlns:a16="http://schemas.microsoft.com/office/drawing/2014/main" id="{721F4C84-92B7-D74F-FEB0-C8B603D788E0}"/>
              </a:ext>
            </a:extLst>
          </p:cNvPr>
          <p:cNvSpPr/>
          <p:nvPr userDrawn="1"/>
        </p:nvSpPr>
        <p:spPr bwMode="gray">
          <a:xfrm flipH="1">
            <a:off x="-528736" y="-713092"/>
            <a:ext cx="7219786" cy="1912727"/>
          </a:xfrm>
          <a:prstGeom prst="snip2DiagRect">
            <a:avLst>
              <a:gd name="adj1" fmla="val 0"/>
              <a:gd name="adj2" fmla="val 30199"/>
            </a:avLst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err="1">
              <a:solidFill>
                <a:schemeClr val="tx1"/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8777BCC1-CDB0-AB23-F4F4-0724D76245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032353" y="326722"/>
            <a:ext cx="1664331" cy="437982"/>
          </a:xfrm>
          <a:prstGeom prst="rect">
            <a:avLst/>
          </a:prstGeom>
        </p:spPr>
      </p:pic>
      <p:sp>
        <p:nvSpPr>
          <p:cNvPr id="3" name="Titel 1">
            <a:extLst>
              <a:ext uri="{FF2B5EF4-FFF2-40B4-BE49-F238E27FC236}">
                <a16:creationId xmlns:a16="http://schemas.microsoft.com/office/drawing/2014/main" id="{B62C82BF-E405-8B38-106B-8A14E936E11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767408" y="2780928"/>
            <a:ext cx="7057380" cy="1655478"/>
          </a:xfr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defRPr sz="4000" b="1" i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/>
              <a:t>Titel der Präsentation</a:t>
            </a:r>
            <a:br>
              <a:rPr lang="de-DE"/>
            </a:br>
            <a:r>
              <a:rPr lang="de-DE"/>
              <a:t>(in 1 – 2 Zeilen)</a:t>
            </a:r>
          </a:p>
        </p:txBody>
      </p:sp>
      <p:sp>
        <p:nvSpPr>
          <p:cNvPr id="5" name="Untertitel 2">
            <a:extLst>
              <a:ext uri="{FF2B5EF4-FFF2-40B4-BE49-F238E27FC236}">
                <a16:creationId xmlns:a16="http://schemas.microsoft.com/office/drawing/2014/main" id="{491BE1AB-A9F5-6DBF-1FCA-0794105A48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67408" y="4580581"/>
            <a:ext cx="7057380" cy="72008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2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/>
              <a:t>Bereichsbezeichnung</a:t>
            </a:r>
            <a:br>
              <a:rPr lang="de-DE"/>
            </a:br>
            <a:r>
              <a:rPr lang="de-DE"/>
              <a:t>Vorname, Name</a:t>
            </a:r>
          </a:p>
        </p:txBody>
      </p:sp>
    </p:spTree>
    <p:extLst>
      <p:ext uri="{BB962C8B-B14F-4D97-AF65-F5344CB8AC3E}">
        <p14:creationId xmlns:p14="http://schemas.microsoft.com/office/powerpoint/2010/main" val="24050781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83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 mit Bild - Logo hochka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5">
            <a:extLst>
              <a:ext uri="{FF2B5EF4-FFF2-40B4-BE49-F238E27FC236}">
                <a16:creationId xmlns:a16="http://schemas.microsoft.com/office/drawing/2014/main" id="{DF022187-E458-34C4-D48D-6A39DF43134F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43472" y="6381328"/>
            <a:ext cx="766235" cy="216024"/>
          </a:xfrm>
          <a:prstGeom prst="rect">
            <a:avLst/>
          </a:prstGeom>
        </p:spPr>
        <p:txBody>
          <a:bodyPr vert="horz" wrap="none" lIns="0" tIns="36000" rIns="0" bIns="0" rtlCol="0" anchor="t">
            <a:noAutofit/>
          </a:bodyPr>
          <a:lstStyle>
            <a:lvl1pPr algn="l">
              <a:defRPr sz="900">
                <a:ln>
                  <a:noFill/>
                </a:ln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74E0A2BE-C29F-2046-A4BC-1AFF762EFD25}" type="datetime1">
              <a:rPr lang="de-DE" smtClean="0"/>
              <a:t>19.12.24</a:t>
            </a:fld>
            <a:endParaRPr lang="de-DE"/>
          </a:p>
        </p:txBody>
      </p:sp>
      <p:sp>
        <p:nvSpPr>
          <p:cNvPr id="8" name="Fußzeilenplatzhalter 6">
            <a:extLst>
              <a:ext uri="{FF2B5EF4-FFF2-40B4-BE49-F238E27FC236}">
                <a16:creationId xmlns:a16="http://schemas.microsoft.com/office/drawing/2014/main" id="{CA414597-CAB2-2B6A-7B5F-D882B9FEF7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181225" y="6381328"/>
            <a:ext cx="9200835" cy="214552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l">
              <a:defRPr sz="900">
                <a:ln>
                  <a:noFill/>
                </a:ln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D6A605B3-0945-1020-1DAF-D622202188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24013" y="6381328"/>
            <a:ext cx="360000" cy="216000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r">
              <a:defRPr sz="900">
                <a:ln>
                  <a:noFill/>
                </a:ln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8CFDFCC3-8B40-4EE5-B231-005F2F1C6A6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ECFD9F7D-E737-17CC-61ED-B85452748A2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91344" y="188640"/>
            <a:ext cx="11809312" cy="6480720"/>
          </a:xfrm>
          <a:custGeom>
            <a:avLst/>
            <a:gdLst>
              <a:gd name="connsiteX0" fmla="*/ 5920958 w 11809312"/>
              <a:gd name="connsiteY0" fmla="*/ 2384935 h 6480720"/>
              <a:gd name="connsiteX1" fmla="*/ 5328592 w 11809312"/>
              <a:gd name="connsiteY1" fmla="*/ 2977301 h 6480720"/>
              <a:gd name="connsiteX2" fmla="*/ 5328592 w 11809312"/>
              <a:gd name="connsiteY2" fmla="*/ 6264720 h 6480720"/>
              <a:gd name="connsiteX3" fmla="*/ 11000922 w 11809312"/>
              <a:gd name="connsiteY3" fmla="*/ 6264720 h 6480720"/>
              <a:gd name="connsiteX4" fmla="*/ 11593288 w 11809312"/>
              <a:gd name="connsiteY4" fmla="*/ 5672354 h 6480720"/>
              <a:gd name="connsiteX5" fmla="*/ 11593288 w 11809312"/>
              <a:gd name="connsiteY5" fmla="*/ 2384935 h 6480720"/>
              <a:gd name="connsiteX6" fmla="*/ 1066791 w 11809312"/>
              <a:gd name="connsiteY6" fmla="*/ 0 h 6480720"/>
              <a:gd name="connsiteX7" fmla="*/ 11809312 w 11809312"/>
              <a:gd name="connsiteY7" fmla="*/ 0 h 6480720"/>
              <a:gd name="connsiteX8" fmla="*/ 11809312 w 11809312"/>
              <a:gd name="connsiteY8" fmla="*/ 1729122 h 6480720"/>
              <a:gd name="connsiteX9" fmla="*/ 11809312 w 11809312"/>
              <a:gd name="connsiteY9" fmla="*/ 5413929 h 6480720"/>
              <a:gd name="connsiteX10" fmla="*/ 11809312 w 11809312"/>
              <a:gd name="connsiteY10" fmla="*/ 6480720 h 6480720"/>
              <a:gd name="connsiteX11" fmla="*/ 10742521 w 11809312"/>
              <a:gd name="connsiteY11" fmla="*/ 6480720 h 6480720"/>
              <a:gd name="connsiteX12" fmla="*/ 3888432 w 11809312"/>
              <a:gd name="connsiteY12" fmla="*/ 6480720 h 6480720"/>
              <a:gd name="connsiteX13" fmla="*/ 0 w 11809312"/>
              <a:gd name="connsiteY13" fmla="*/ 6480720 h 6480720"/>
              <a:gd name="connsiteX14" fmla="*/ 0 w 11809312"/>
              <a:gd name="connsiteY14" fmla="*/ 3414738 h 6480720"/>
              <a:gd name="connsiteX15" fmla="*/ 1056180 w 11809312"/>
              <a:gd name="connsiteY15" fmla="*/ 2358559 h 6480720"/>
              <a:gd name="connsiteX16" fmla="*/ 1056180 w 11809312"/>
              <a:gd name="connsiteY16" fmla="*/ 10611 h 6480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1809312" h="6480720">
                <a:moveTo>
                  <a:pt x="5920958" y="2384935"/>
                </a:moveTo>
                <a:lnTo>
                  <a:pt x="5328592" y="2977301"/>
                </a:lnTo>
                <a:lnTo>
                  <a:pt x="5328592" y="6264720"/>
                </a:lnTo>
                <a:lnTo>
                  <a:pt x="11000922" y="6264720"/>
                </a:lnTo>
                <a:lnTo>
                  <a:pt x="11593288" y="5672354"/>
                </a:lnTo>
                <a:lnTo>
                  <a:pt x="11593288" y="2384935"/>
                </a:lnTo>
                <a:close/>
                <a:moveTo>
                  <a:pt x="1066791" y="0"/>
                </a:moveTo>
                <a:lnTo>
                  <a:pt x="11809312" y="0"/>
                </a:lnTo>
                <a:lnTo>
                  <a:pt x="11809312" y="1729122"/>
                </a:lnTo>
                <a:lnTo>
                  <a:pt x="11809312" y="5413929"/>
                </a:lnTo>
                <a:lnTo>
                  <a:pt x="11809312" y="6480720"/>
                </a:lnTo>
                <a:lnTo>
                  <a:pt x="10742521" y="6480720"/>
                </a:lnTo>
                <a:lnTo>
                  <a:pt x="3888432" y="6480720"/>
                </a:lnTo>
                <a:lnTo>
                  <a:pt x="0" y="6480720"/>
                </a:lnTo>
                <a:lnTo>
                  <a:pt x="0" y="3414738"/>
                </a:lnTo>
                <a:lnTo>
                  <a:pt x="1056180" y="2358559"/>
                </a:lnTo>
                <a:lnTo>
                  <a:pt x="1056180" y="10611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5" name="Rechteck: diagonal liegende Ecken abgeschnitten 4">
            <a:extLst>
              <a:ext uri="{FF2B5EF4-FFF2-40B4-BE49-F238E27FC236}">
                <a16:creationId xmlns:a16="http://schemas.microsoft.com/office/drawing/2014/main" id="{EE013E81-FA26-6686-7F20-64ED6B87C178}"/>
              </a:ext>
            </a:extLst>
          </p:cNvPr>
          <p:cNvSpPr/>
          <p:nvPr userDrawn="1"/>
        </p:nvSpPr>
        <p:spPr bwMode="gray">
          <a:xfrm flipH="1">
            <a:off x="5519936" y="2573575"/>
            <a:ext cx="6264696" cy="3879785"/>
          </a:xfrm>
          <a:prstGeom prst="snip2DiagRect">
            <a:avLst>
              <a:gd name="adj1" fmla="val 0"/>
              <a:gd name="adj2" fmla="val 15268"/>
            </a:avLst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err="1">
              <a:solidFill>
                <a:schemeClr val="tx1"/>
              </a:solidFill>
            </a:endParaRP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B51CC5F-A2BE-E61B-4360-EDA419C02AF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79976" y="5660701"/>
            <a:ext cx="5389774" cy="360040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Ort, xx. Monat 20xx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150754E9-A5A8-EFB4-821F-B8E2DEDE77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-254955" y="1040194"/>
            <a:ext cx="1664332" cy="43798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D12AB7E-A1E8-A23C-D8C1-A2B30473A8B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79976" y="2996952"/>
            <a:ext cx="5389774" cy="1655478"/>
          </a:xfr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defRPr sz="4000" b="1" i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Titel der Präsentation</a:t>
            </a:r>
            <a:br>
              <a:rPr lang="de-DE"/>
            </a:br>
            <a:r>
              <a:rPr lang="de-DE"/>
              <a:t>(in 1 – 2 Zeilen)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1E5B00A-8F3D-E721-9517-7EDD23ECEB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879976" y="4796605"/>
            <a:ext cx="5389774" cy="72008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/>
              <a:t>Bereichsbezeichnung</a:t>
            </a:r>
            <a:br>
              <a:rPr lang="de-DE"/>
            </a:br>
            <a:r>
              <a:rPr lang="de-DE"/>
              <a:t>Vorname, Name</a:t>
            </a:r>
          </a:p>
        </p:txBody>
      </p:sp>
    </p:spTree>
    <p:extLst>
      <p:ext uri="{BB962C8B-B14F-4D97-AF65-F5344CB8AC3E}">
        <p14:creationId xmlns:p14="http://schemas.microsoft.com/office/powerpoint/2010/main" val="11519319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folie mit Bild - Logo hochka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5">
            <a:extLst>
              <a:ext uri="{FF2B5EF4-FFF2-40B4-BE49-F238E27FC236}">
                <a16:creationId xmlns:a16="http://schemas.microsoft.com/office/drawing/2014/main" id="{DF022187-E458-34C4-D48D-6A39DF43134F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43472" y="6381328"/>
            <a:ext cx="766235" cy="216024"/>
          </a:xfrm>
          <a:prstGeom prst="rect">
            <a:avLst/>
          </a:prstGeom>
        </p:spPr>
        <p:txBody>
          <a:bodyPr vert="horz" wrap="none" lIns="0" tIns="36000" rIns="0" bIns="0" rtlCol="0" anchor="t">
            <a:noAutofit/>
          </a:bodyPr>
          <a:lstStyle>
            <a:lvl1pPr algn="l">
              <a:defRPr sz="900">
                <a:ln>
                  <a:noFill/>
                </a:ln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BB48E188-2292-6F45-9961-65FB7DD0FD66}" type="datetime1">
              <a:rPr lang="de-DE" smtClean="0"/>
              <a:t>19.12.24</a:t>
            </a:fld>
            <a:endParaRPr lang="de-DE"/>
          </a:p>
        </p:txBody>
      </p:sp>
      <p:sp>
        <p:nvSpPr>
          <p:cNvPr id="8" name="Fußzeilenplatzhalter 6">
            <a:extLst>
              <a:ext uri="{FF2B5EF4-FFF2-40B4-BE49-F238E27FC236}">
                <a16:creationId xmlns:a16="http://schemas.microsoft.com/office/drawing/2014/main" id="{CA414597-CAB2-2B6A-7B5F-D882B9FEF7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181225" y="6381328"/>
            <a:ext cx="9200835" cy="214552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l">
              <a:defRPr sz="900">
                <a:ln>
                  <a:noFill/>
                </a:ln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D6A605B3-0945-1020-1DAF-D622202188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24013" y="6381328"/>
            <a:ext cx="360000" cy="216000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r">
              <a:defRPr sz="900">
                <a:ln>
                  <a:noFill/>
                </a:ln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8CFDFCC3-8B40-4EE5-B231-005F2F1C6A6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38EB17CE-DDEB-79B8-2D5D-0DCE4BADCFE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91344" y="188640"/>
            <a:ext cx="11809312" cy="6480720"/>
          </a:xfrm>
          <a:custGeom>
            <a:avLst/>
            <a:gdLst>
              <a:gd name="connsiteX0" fmla="*/ 5907701 w 11809312"/>
              <a:gd name="connsiteY0" fmla="*/ 1224167 h 6480720"/>
              <a:gd name="connsiteX1" fmla="*/ 5328592 w 11809312"/>
              <a:gd name="connsiteY1" fmla="*/ 1803276 h 6480720"/>
              <a:gd name="connsiteX2" fmla="*/ 5328592 w 11809312"/>
              <a:gd name="connsiteY2" fmla="*/ 6264720 h 6480720"/>
              <a:gd name="connsiteX3" fmla="*/ 11014179 w 11809312"/>
              <a:gd name="connsiteY3" fmla="*/ 6264720 h 6480720"/>
              <a:gd name="connsiteX4" fmla="*/ 11593288 w 11809312"/>
              <a:gd name="connsiteY4" fmla="*/ 5685611 h 6480720"/>
              <a:gd name="connsiteX5" fmla="*/ 11593288 w 11809312"/>
              <a:gd name="connsiteY5" fmla="*/ 1224167 h 6480720"/>
              <a:gd name="connsiteX6" fmla="*/ 579109 w 11809312"/>
              <a:gd name="connsiteY6" fmla="*/ 0 h 6480720"/>
              <a:gd name="connsiteX7" fmla="*/ 1066791 w 11809312"/>
              <a:gd name="connsiteY7" fmla="*/ 0 h 6480720"/>
              <a:gd name="connsiteX8" fmla="*/ 6264696 w 11809312"/>
              <a:gd name="connsiteY8" fmla="*/ 0 h 6480720"/>
              <a:gd name="connsiteX9" fmla="*/ 11809312 w 11809312"/>
              <a:gd name="connsiteY9" fmla="*/ 0 h 6480720"/>
              <a:gd name="connsiteX10" fmla="*/ 11809312 w 11809312"/>
              <a:gd name="connsiteY10" fmla="*/ 1152128 h 6480720"/>
              <a:gd name="connsiteX11" fmla="*/ 11809312 w 11809312"/>
              <a:gd name="connsiteY11" fmla="*/ 5413929 h 6480720"/>
              <a:gd name="connsiteX12" fmla="*/ 11809312 w 11809312"/>
              <a:gd name="connsiteY12" fmla="*/ 6480720 h 6480720"/>
              <a:gd name="connsiteX13" fmla="*/ 10742521 w 11809312"/>
              <a:gd name="connsiteY13" fmla="*/ 6480720 h 6480720"/>
              <a:gd name="connsiteX14" fmla="*/ 5832649 w 11809312"/>
              <a:gd name="connsiteY14" fmla="*/ 6480720 h 6480720"/>
              <a:gd name="connsiteX15" fmla="*/ 0 w 11809312"/>
              <a:gd name="connsiteY15" fmla="*/ 6480720 h 6480720"/>
              <a:gd name="connsiteX16" fmla="*/ 0 w 11809312"/>
              <a:gd name="connsiteY16" fmla="*/ 5040553 h 6480720"/>
              <a:gd name="connsiteX17" fmla="*/ 0 w 11809312"/>
              <a:gd name="connsiteY17" fmla="*/ 1066791 h 6480720"/>
              <a:gd name="connsiteX18" fmla="*/ 0 w 11809312"/>
              <a:gd name="connsiteY18" fmla="*/ 579109 h 6480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1809312" h="6480720">
                <a:moveTo>
                  <a:pt x="5907701" y="1224167"/>
                </a:moveTo>
                <a:lnTo>
                  <a:pt x="5328592" y="1803276"/>
                </a:lnTo>
                <a:lnTo>
                  <a:pt x="5328592" y="6264720"/>
                </a:lnTo>
                <a:lnTo>
                  <a:pt x="11014179" y="6264720"/>
                </a:lnTo>
                <a:lnTo>
                  <a:pt x="11593288" y="5685611"/>
                </a:lnTo>
                <a:lnTo>
                  <a:pt x="11593288" y="1224167"/>
                </a:lnTo>
                <a:close/>
                <a:moveTo>
                  <a:pt x="579109" y="0"/>
                </a:moveTo>
                <a:lnTo>
                  <a:pt x="1066791" y="0"/>
                </a:lnTo>
                <a:lnTo>
                  <a:pt x="6264696" y="0"/>
                </a:lnTo>
                <a:lnTo>
                  <a:pt x="11809312" y="0"/>
                </a:lnTo>
                <a:lnTo>
                  <a:pt x="11809312" y="1152128"/>
                </a:lnTo>
                <a:lnTo>
                  <a:pt x="11809312" y="5413929"/>
                </a:lnTo>
                <a:lnTo>
                  <a:pt x="11809312" y="6480720"/>
                </a:lnTo>
                <a:lnTo>
                  <a:pt x="10742521" y="6480720"/>
                </a:lnTo>
                <a:lnTo>
                  <a:pt x="5832649" y="6480720"/>
                </a:lnTo>
                <a:lnTo>
                  <a:pt x="0" y="6480720"/>
                </a:lnTo>
                <a:lnTo>
                  <a:pt x="0" y="5040553"/>
                </a:lnTo>
                <a:lnTo>
                  <a:pt x="0" y="1066791"/>
                </a:lnTo>
                <a:lnTo>
                  <a:pt x="0" y="579109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3" name="Rechteck: diagonal liegende Ecken abgeschnitten 2">
            <a:extLst>
              <a:ext uri="{FF2B5EF4-FFF2-40B4-BE49-F238E27FC236}">
                <a16:creationId xmlns:a16="http://schemas.microsoft.com/office/drawing/2014/main" id="{623586BA-1EDC-72A2-7917-6D90E9354776}"/>
              </a:ext>
            </a:extLst>
          </p:cNvPr>
          <p:cNvSpPr/>
          <p:nvPr userDrawn="1"/>
        </p:nvSpPr>
        <p:spPr bwMode="gray">
          <a:xfrm flipH="1">
            <a:off x="5519936" y="1412807"/>
            <a:ext cx="6264696" cy="5040553"/>
          </a:xfrm>
          <a:prstGeom prst="snip2DiagRect">
            <a:avLst>
              <a:gd name="adj1" fmla="val 0"/>
              <a:gd name="adj2" fmla="val 11489"/>
            </a:avLst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err="1">
              <a:solidFill>
                <a:schemeClr val="tx1"/>
              </a:solidFill>
            </a:endParaRPr>
          </a:p>
        </p:txBody>
      </p:sp>
      <p:sp>
        <p:nvSpPr>
          <p:cNvPr id="6" name="Textplatzhalter 9">
            <a:extLst>
              <a:ext uri="{FF2B5EF4-FFF2-40B4-BE49-F238E27FC236}">
                <a16:creationId xmlns:a16="http://schemas.microsoft.com/office/drawing/2014/main" id="{86F6CF1A-92B4-5B17-B9D9-025C61DCDAD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79976" y="5660701"/>
            <a:ext cx="5389774" cy="360040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Ort, xx. Monat 20xx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AD6E0F79-D1F3-C1A5-EDAB-A9D719FA2F5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739507" y="1701200"/>
            <a:ext cx="1664331" cy="43798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8F66F27-AD56-0C77-36B5-C636757F64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79976" y="2996952"/>
            <a:ext cx="5389774" cy="1655478"/>
          </a:xfr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defRPr sz="4000" b="1" i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Titel der Präsentation</a:t>
            </a:r>
            <a:br>
              <a:rPr lang="de-DE"/>
            </a:br>
            <a:r>
              <a:rPr lang="de-DE"/>
              <a:t>(in 1 – 2 Zeilen)</a:t>
            </a:r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B58F6891-67BC-DA70-87C1-D7310D96227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879976" y="4796605"/>
            <a:ext cx="5389774" cy="72008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/>
              <a:t>Bereichsbezeichnung</a:t>
            </a:r>
            <a:br>
              <a:rPr lang="de-DE"/>
            </a:br>
            <a:r>
              <a:rPr lang="de-DE"/>
              <a:t>Vorname, Name</a:t>
            </a:r>
          </a:p>
        </p:txBody>
      </p:sp>
    </p:spTree>
    <p:extLst>
      <p:ext uri="{BB962C8B-B14F-4D97-AF65-F5344CB8AC3E}">
        <p14:creationId xmlns:p14="http://schemas.microsoft.com/office/powerpoint/2010/main" val="3330573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5">
            <a:extLst>
              <a:ext uri="{FF2B5EF4-FFF2-40B4-BE49-F238E27FC236}">
                <a16:creationId xmlns:a16="http://schemas.microsoft.com/office/drawing/2014/main" id="{DF022187-E458-34C4-D48D-6A39DF43134F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43472" y="6381328"/>
            <a:ext cx="766235" cy="216024"/>
          </a:xfrm>
          <a:prstGeom prst="rect">
            <a:avLst/>
          </a:prstGeom>
        </p:spPr>
        <p:txBody>
          <a:bodyPr vert="horz" wrap="none" lIns="0" tIns="36000" rIns="0" bIns="0" rtlCol="0" anchor="t">
            <a:noAutofit/>
          </a:bodyPr>
          <a:lstStyle>
            <a:lvl1pPr algn="l">
              <a:defRPr sz="900">
                <a:ln>
                  <a:noFill/>
                </a:ln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F81BD51D-4DEB-9A43-9712-4C9035959FBE}" type="datetime1">
              <a:rPr lang="de-DE" smtClean="0"/>
              <a:t>19.12.24</a:t>
            </a:fld>
            <a:endParaRPr lang="de-DE"/>
          </a:p>
        </p:txBody>
      </p:sp>
      <p:sp>
        <p:nvSpPr>
          <p:cNvPr id="8" name="Fußzeilenplatzhalter 6">
            <a:extLst>
              <a:ext uri="{FF2B5EF4-FFF2-40B4-BE49-F238E27FC236}">
                <a16:creationId xmlns:a16="http://schemas.microsoft.com/office/drawing/2014/main" id="{CA414597-CAB2-2B6A-7B5F-D882B9FEF7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181225" y="6381328"/>
            <a:ext cx="9200835" cy="214552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l">
              <a:defRPr sz="900">
                <a:ln>
                  <a:noFill/>
                </a:ln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D6A605B3-0945-1020-1DAF-D622202188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24013" y="6381328"/>
            <a:ext cx="360000" cy="216000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r">
              <a:defRPr sz="900">
                <a:ln>
                  <a:noFill/>
                </a:ln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8CFDFCC3-8B40-4EE5-B231-005F2F1C6A6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475692A9-317A-84BD-5E1D-643D912EE030}"/>
              </a:ext>
            </a:extLst>
          </p:cNvPr>
          <p:cNvSpPr/>
          <p:nvPr userDrawn="1"/>
        </p:nvSpPr>
        <p:spPr bwMode="gray">
          <a:xfrm>
            <a:off x="263352" y="6309320"/>
            <a:ext cx="11665296" cy="432048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err="1">
              <a:solidFill>
                <a:schemeClr val="tx1"/>
              </a:solidFill>
            </a:endParaRPr>
          </a:p>
        </p:txBody>
      </p:sp>
      <p:sp>
        <p:nvSpPr>
          <p:cNvPr id="5" name="Rechteck: diagonal liegende Ecken abgeschnitten 4">
            <a:extLst>
              <a:ext uri="{FF2B5EF4-FFF2-40B4-BE49-F238E27FC236}">
                <a16:creationId xmlns:a16="http://schemas.microsoft.com/office/drawing/2014/main" id="{5565CA0B-7C9A-EDD1-CD7B-68E882155C85}"/>
              </a:ext>
            </a:extLst>
          </p:cNvPr>
          <p:cNvSpPr/>
          <p:nvPr userDrawn="1"/>
        </p:nvSpPr>
        <p:spPr bwMode="gray">
          <a:xfrm flipH="1">
            <a:off x="402720" y="1412776"/>
            <a:ext cx="10517816" cy="5580460"/>
          </a:xfrm>
          <a:prstGeom prst="snip2DiagRect">
            <a:avLst>
              <a:gd name="adj1" fmla="val 0"/>
              <a:gd name="adj2" fmla="val 10113"/>
            </a:avLst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err="1">
              <a:solidFill>
                <a:schemeClr val="tx1"/>
              </a:solidFill>
            </a:endParaRPr>
          </a:p>
        </p:txBody>
      </p:sp>
      <p:sp>
        <p:nvSpPr>
          <p:cNvPr id="16" name="Rechteck: diagonal liegende Ecken abgeschnitten 15">
            <a:extLst>
              <a:ext uri="{FF2B5EF4-FFF2-40B4-BE49-F238E27FC236}">
                <a16:creationId xmlns:a16="http://schemas.microsoft.com/office/drawing/2014/main" id="{09B6F1D4-4DE1-943E-400B-D7763E7F3388}"/>
              </a:ext>
            </a:extLst>
          </p:cNvPr>
          <p:cNvSpPr/>
          <p:nvPr userDrawn="1"/>
        </p:nvSpPr>
        <p:spPr bwMode="gray">
          <a:xfrm flipH="1">
            <a:off x="-384720" y="-387424"/>
            <a:ext cx="6480717" cy="6768752"/>
          </a:xfrm>
          <a:prstGeom prst="snip2DiagRect">
            <a:avLst>
              <a:gd name="adj1" fmla="val 0"/>
              <a:gd name="adj2" fmla="val 8858"/>
            </a:avLst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err="1">
              <a:solidFill>
                <a:schemeClr val="tx1"/>
              </a:solidFill>
            </a:endParaRP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AD123121-05C0-EFB7-B5FA-D1C86B83225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767408" y="2421435"/>
            <a:ext cx="4895924" cy="1655478"/>
          </a:xfr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defRPr sz="4000" b="1" i="0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/>
              <a:t>Titel der Präsentation</a:t>
            </a:r>
            <a:br>
              <a:rPr lang="de-DE"/>
            </a:br>
            <a:r>
              <a:rPr lang="de-DE"/>
              <a:t>(in 1-2 Zeilen)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C4C2EAC2-86D2-FF8F-09B2-5205E6D33A9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70979" y="4221088"/>
            <a:ext cx="4892962" cy="72008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/>
              <a:t>Bereichsbezeichnung</a:t>
            </a:r>
            <a:br>
              <a:rPr lang="de-DE"/>
            </a:br>
            <a:r>
              <a:rPr lang="de-DE"/>
              <a:t>Vorname, Name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749A6647-B391-C1A6-EE42-E2D5D0CDDC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67408" y="5085184"/>
            <a:ext cx="4895924" cy="360040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Ort, xx. Monat 20xx</a:t>
            </a:r>
          </a:p>
        </p:txBody>
      </p:sp>
      <p:sp>
        <p:nvSpPr>
          <p:cNvPr id="3" name="Bildplatzhalter 1">
            <a:extLst>
              <a:ext uri="{FF2B5EF4-FFF2-40B4-BE49-F238E27FC236}">
                <a16:creationId xmlns:a16="http://schemas.microsoft.com/office/drawing/2014/main" id="{6D8F7E24-0994-82E3-88DF-A377F5A5843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879976" y="188640"/>
            <a:ext cx="6121224" cy="6480720"/>
          </a:xfrm>
          <a:prstGeom prst="snip2DiagRect">
            <a:avLst>
              <a:gd name="adj1" fmla="val 9232"/>
              <a:gd name="adj2" fmla="val 0"/>
            </a:avLst>
          </a:pr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 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36E1DCDB-8A7B-99E2-68BE-2EBBE1A579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99832" y="309397"/>
            <a:ext cx="1664331" cy="437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5114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83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ein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369EF004-57E4-2873-8862-6CB6F667878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3359150" y="2348880"/>
            <a:ext cx="8424863" cy="3672507"/>
          </a:xfrm>
        </p:spPr>
        <p:txBody>
          <a:bodyPr/>
          <a:lstStyle>
            <a:lvl1pPr marL="540000" indent="-540000" defTabSz="539750">
              <a:spcBef>
                <a:spcPts val="2000"/>
              </a:spcBef>
              <a:spcAft>
                <a:spcPts val="400"/>
              </a:spcAft>
              <a:buFont typeface="+mj-lt"/>
              <a:buNone/>
              <a:tabLst>
                <a:tab pos="6275388" algn="l"/>
                <a:tab pos="8432800" algn="r"/>
              </a:tabLst>
              <a:defRPr sz="2000" b="0">
                <a:solidFill>
                  <a:schemeClr val="tx2"/>
                </a:solidFill>
                <a:latin typeface="+mj-lt"/>
              </a:defRPr>
            </a:lvl1pPr>
            <a:lvl2pPr marL="533400" indent="0" defTabSz="539750">
              <a:spcBef>
                <a:spcPts val="0"/>
              </a:spcBef>
              <a:spcAft>
                <a:spcPts val="0"/>
              </a:spcAft>
              <a:buFont typeface="+mj-lt"/>
              <a:buNone/>
              <a:tabLst>
                <a:tab pos="6103938" algn="l"/>
              </a:tabLst>
              <a:defRPr sz="1400">
                <a:solidFill>
                  <a:schemeClr val="tx2"/>
                </a:solidFill>
              </a:defRPr>
            </a:lvl2pPr>
            <a:lvl3pPr marL="533400" indent="0" defTabSz="539750">
              <a:spcBef>
                <a:spcPts val="0"/>
              </a:spcBef>
              <a:spcAft>
                <a:spcPts val="0"/>
              </a:spcAft>
              <a:buFont typeface="+mj-lt"/>
              <a:buNone/>
              <a:tabLst>
                <a:tab pos="6103938" algn="l"/>
              </a:tabLst>
              <a:defRPr sz="1400">
                <a:solidFill>
                  <a:schemeClr val="tx2"/>
                </a:solidFill>
              </a:defRPr>
            </a:lvl3pPr>
            <a:lvl4pPr marL="533400" indent="0" defTabSz="539750">
              <a:spcBef>
                <a:spcPts val="0"/>
              </a:spcBef>
              <a:spcAft>
                <a:spcPts val="0"/>
              </a:spcAft>
              <a:buFont typeface="+mj-lt"/>
              <a:buNone/>
              <a:tabLst>
                <a:tab pos="6103938" algn="l"/>
              </a:tabLst>
              <a:defRPr sz="1400">
                <a:solidFill>
                  <a:schemeClr val="tx2"/>
                </a:solidFill>
              </a:defRPr>
            </a:lvl4pPr>
            <a:lvl5pPr marL="533400" indent="0" defTabSz="539750">
              <a:spcBef>
                <a:spcPts val="0"/>
              </a:spcBef>
              <a:spcAft>
                <a:spcPts val="0"/>
              </a:spcAft>
              <a:buFont typeface="+mj-lt"/>
              <a:buNone/>
              <a:tabLst>
                <a:tab pos="6103938" algn="l"/>
              </a:tabLst>
              <a:defRPr sz="1400">
                <a:solidFill>
                  <a:schemeClr val="tx2"/>
                </a:solidFill>
              </a:defRPr>
            </a:lvl5pPr>
            <a:lvl6pPr marL="533400" indent="0" defTabSz="539750">
              <a:spcBef>
                <a:spcPts val="0"/>
              </a:spcBef>
              <a:spcAft>
                <a:spcPts val="0"/>
              </a:spcAft>
              <a:buFont typeface="+mj-lt"/>
              <a:buNone/>
              <a:tabLst>
                <a:tab pos="6103938" algn="l"/>
              </a:tabLst>
              <a:defRPr sz="1400">
                <a:solidFill>
                  <a:schemeClr val="tx2"/>
                </a:solidFill>
              </a:defRPr>
            </a:lvl6pPr>
            <a:lvl7pPr marL="533400" indent="0" defTabSz="539750">
              <a:spcBef>
                <a:spcPts val="0"/>
              </a:spcBef>
              <a:spcAft>
                <a:spcPts val="0"/>
              </a:spcAft>
              <a:buFont typeface="+mj-lt"/>
              <a:buNone/>
              <a:tabLst>
                <a:tab pos="6103938" algn="l"/>
              </a:tabLst>
              <a:defRPr sz="1400">
                <a:solidFill>
                  <a:schemeClr val="tx2"/>
                </a:solidFill>
              </a:defRPr>
            </a:lvl7pPr>
            <a:lvl8pPr marL="533400" indent="0" defTabSz="539750">
              <a:spcBef>
                <a:spcPts val="0"/>
              </a:spcBef>
              <a:spcAft>
                <a:spcPts val="0"/>
              </a:spcAft>
              <a:buFont typeface="+mj-lt"/>
              <a:buNone/>
              <a:tabLst>
                <a:tab pos="6103938" algn="l"/>
              </a:tabLst>
              <a:defRPr sz="1400">
                <a:solidFill>
                  <a:schemeClr val="tx2"/>
                </a:solidFill>
              </a:defRPr>
            </a:lvl8pPr>
            <a:lvl9pPr marL="533400" indent="0" defTabSz="539750">
              <a:spcBef>
                <a:spcPts val="0"/>
              </a:spcBef>
              <a:spcAft>
                <a:spcPts val="0"/>
              </a:spcAft>
              <a:buFont typeface="+mj-lt"/>
              <a:buNone/>
              <a:tabLst>
                <a:tab pos="6103938" algn="l"/>
              </a:tabLst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Nutzen Sie die Buttons „Listenebene erhöhen/verringern“ auf dem Register Start, um zwischen den eingerichteten Textebenen zu wechseln. Text durch Klicken bearbeite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8" name="Titelplatzhalter 1">
            <a:extLst>
              <a:ext uri="{FF2B5EF4-FFF2-40B4-BE49-F238E27FC236}">
                <a16:creationId xmlns:a16="http://schemas.microsoft.com/office/drawing/2014/main" id="{74CC5F11-9C10-CD42-E61F-AFF4040C7F1D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988" y="1052736"/>
            <a:ext cx="11376025" cy="648072"/>
          </a:xfrm>
          <a:prstGeom prst="rect">
            <a:avLst/>
          </a:prstGeom>
        </p:spPr>
        <p:txBody>
          <a:bodyPr vert="horz" lIns="0" tIns="54000" rIns="0" bIns="0" rtlCol="0" anchor="ctr" anchorCtr="0">
            <a:no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5" name="Foliennummernplatzhalter 7">
            <a:extLst>
              <a:ext uri="{FF2B5EF4-FFF2-40B4-BE49-F238E27FC236}">
                <a16:creationId xmlns:a16="http://schemas.microsoft.com/office/drawing/2014/main" id="{7F28344E-E665-A04F-3C7B-9BDE1FBACF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24013" y="6381328"/>
            <a:ext cx="360000" cy="216000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8CFDFCC3-8B40-4EE5-B231-005F2F1C6A6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" name="Datumsplatzhalter 5">
            <a:extLst>
              <a:ext uri="{FF2B5EF4-FFF2-40B4-BE49-F238E27FC236}">
                <a16:creationId xmlns:a16="http://schemas.microsoft.com/office/drawing/2014/main" id="{1AE23F67-9329-ED70-9A03-27AC444F707D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1293" y="6381328"/>
            <a:ext cx="766235" cy="216024"/>
          </a:xfrm>
          <a:prstGeom prst="rect">
            <a:avLst/>
          </a:prstGeom>
        </p:spPr>
        <p:txBody>
          <a:bodyPr vert="horz" wrap="none" lIns="0" tIns="36000" rIns="0" bIns="0" rtlCol="0" anchor="t">
            <a:noAutofit/>
          </a:bodyPr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fld id="{A36EC816-F04C-C44D-B41E-4FDA80EEBE7F}" type="datetime1">
              <a:rPr lang="de-DE" smtClean="0"/>
              <a:t>19.12.24</a:t>
            </a:fld>
            <a:endParaRPr lang="de-DE"/>
          </a:p>
        </p:txBody>
      </p:sp>
      <p:sp>
        <p:nvSpPr>
          <p:cNvPr id="3" name="Fußzeilenplatzhalter 6">
            <a:extLst>
              <a:ext uri="{FF2B5EF4-FFF2-40B4-BE49-F238E27FC236}">
                <a16:creationId xmlns:a16="http://schemas.microsoft.com/office/drawing/2014/main" id="{2F937107-4442-B0F6-1CF6-6FDF22756D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943753" y="6381328"/>
            <a:ext cx="9408831" cy="214552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518E53F-F07A-1474-8BE1-FC558B58456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78711" y="324817"/>
            <a:ext cx="803098" cy="211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642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2">
            <a:extLst>
              <a:ext uri="{FF2B5EF4-FFF2-40B4-BE49-F238E27FC236}">
                <a16:creationId xmlns:a16="http://schemas.microsoft.com/office/drawing/2014/main" id="{A0D497FB-17DB-ED91-FB66-A8C373CDD5D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3359150" y="2348880"/>
            <a:ext cx="8424863" cy="3672507"/>
          </a:xfrm>
        </p:spPr>
        <p:txBody>
          <a:bodyPr numCol="2" spcCol="108000"/>
          <a:lstStyle>
            <a:lvl1pPr marL="540000" indent="-540000" defTabSz="539750">
              <a:spcBef>
                <a:spcPts val="2000"/>
              </a:spcBef>
              <a:spcAft>
                <a:spcPts val="400"/>
              </a:spcAft>
              <a:buFont typeface="+mj-lt"/>
              <a:buNone/>
              <a:tabLst/>
              <a:defRPr sz="2000" b="0">
                <a:solidFill>
                  <a:schemeClr val="tx2"/>
                </a:solidFill>
                <a:latin typeface="+mj-lt"/>
              </a:defRPr>
            </a:lvl1pPr>
            <a:lvl2pPr marL="533400" indent="3175" defTabSz="53340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400">
                <a:solidFill>
                  <a:schemeClr val="tx2"/>
                </a:solidFill>
              </a:defRPr>
            </a:lvl2pPr>
            <a:lvl3pPr marL="533400" indent="3175" defTabSz="53340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400">
                <a:solidFill>
                  <a:schemeClr val="tx2"/>
                </a:solidFill>
              </a:defRPr>
            </a:lvl3pPr>
            <a:lvl4pPr marL="533400" indent="3175" defTabSz="53340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400">
                <a:solidFill>
                  <a:schemeClr val="tx2"/>
                </a:solidFill>
              </a:defRPr>
            </a:lvl4pPr>
            <a:lvl5pPr marL="533400" indent="3175" defTabSz="53340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400">
                <a:solidFill>
                  <a:schemeClr val="tx2"/>
                </a:solidFill>
              </a:defRPr>
            </a:lvl5pPr>
            <a:lvl6pPr marL="533400" indent="3175" defTabSz="53340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400">
                <a:solidFill>
                  <a:schemeClr val="tx2"/>
                </a:solidFill>
              </a:defRPr>
            </a:lvl6pPr>
            <a:lvl7pPr marL="533400" indent="3175" defTabSz="53340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400">
                <a:solidFill>
                  <a:schemeClr val="tx2"/>
                </a:solidFill>
              </a:defRPr>
            </a:lvl7pPr>
            <a:lvl8pPr marL="533400" indent="3175" defTabSz="53340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400">
                <a:solidFill>
                  <a:schemeClr val="tx2"/>
                </a:solidFill>
              </a:defRPr>
            </a:lvl8pPr>
            <a:lvl9pPr marL="533400" indent="3175" defTabSz="53340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Nutzen Sie die Buttons „Listenebene erhöhen/</a:t>
            </a:r>
            <a:br>
              <a:rPr lang="de-DE"/>
            </a:br>
            <a:r>
              <a:rPr lang="de-DE"/>
              <a:t>verringern“ auf dem Register Start, um zwischen den eingerichteten Textebenen zu wechseln. Text durch Klicken bearbeite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6" name="Titelplatzhalter 1">
            <a:extLst>
              <a:ext uri="{FF2B5EF4-FFF2-40B4-BE49-F238E27FC236}">
                <a16:creationId xmlns:a16="http://schemas.microsoft.com/office/drawing/2014/main" id="{CE104BC5-29B0-FDA4-EE33-896138114EC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4328" y="1052736"/>
            <a:ext cx="11379685" cy="648072"/>
          </a:xfrm>
          <a:prstGeom prst="rect">
            <a:avLst/>
          </a:prstGeom>
        </p:spPr>
        <p:txBody>
          <a:bodyPr vert="horz" lIns="0" tIns="54000" rIns="0" bIns="0" rtlCol="0" anchor="ctr" anchorCtr="0">
            <a:no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1" name="Foliennummernplatzhalter 7">
            <a:extLst>
              <a:ext uri="{FF2B5EF4-FFF2-40B4-BE49-F238E27FC236}">
                <a16:creationId xmlns:a16="http://schemas.microsoft.com/office/drawing/2014/main" id="{00E8C300-D485-23AA-33D6-AC79A5473E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24013" y="6381328"/>
            <a:ext cx="360000" cy="216000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8CFDFCC3-8B40-4EE5-B231-005F2F1C6A6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Datumsplatzhalter 5">
            <a:extLst>
              <a:ext uri="{FF2B5EF4-FFF2-40B4-BE49-F238E27FC236}">
                <a16:creationId xmlns:a16="http://schemas.microsoft.com/office/drawing/2014/main" id="{50A2CAD2-5EFA-BB29-0999-8678C9885B4C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1293" y="6381328"/>
            <a:ext cx="766235" cy="216024"/>
          </a:xfrm>
          <a:prstGeom prst="rect">
            <a:avLst/>
          </a:prstGeom>
        </p:spPr>
        <p:txBody>
          <a:bodyPr vert="horz" wrap="none" lIns="0" tIns="36000" rIns="0" bIns="0" rtlCol="0" anchor="t">
            <a:noAutofit/>
          </a:bodyPr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fld id="{C02E5835-98EC-4F48-BA34-5147C51811B9}" type="datetime1">
              <a:rPr lang="de-DE" smtClean="0"/>
              <a:t>19.12.24</a:t>
            </a:fld>
            <a:endParaRPr lang="de-DE"/>
          </a:p>
        </p:txBody>
      </p:sp>
      <p:sp>
        <p:nvSpPr>
          <p:cNvPr id="5" name="Fußzeilenplatzhalter 6">
            <a:extLst>
              <a:ext uri="{FF2B5EF4-FFF2-40B4-BE49-F238E27FC236}">
                <a16:creationId xmlns:a16="http://schemas.microsoft.com/office/drawing/2014/main" id="{ABFBA858-D2ED-CEC0-0BB3-EA92D8ADD4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943753" y="6381328"/>
            <a:ext cx="9408831" cy="214552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13BABE4-9398-A7D3-6205-5B939C29EE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78711" y="324817"/>
            <a:ext cx="803098" cy="211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76876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5">
            <a:extLst>
              <a:ext uri="{FF2B5EF4-FFF2-40B4-BE49-F238E27FC236}">
                <a16:creationId xmlns:a16="http://schemas.microsoft.com/office/drawing/2014/main" id="{B17477DA-EF5E-CF83-CEEE-726DEB0C1327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43472" y="6381328"/>
            <a:ext cx="766235" cy="216024"/>
          </a:xfrm>
          <a:prstGeom prst="rect">
            <a:avLst/>
          </a:prstGeom>
        </p:spPr>
        <p:txBody>
          <a:bodyPr vert="horz" wrap="none" lIns="0" tIns="36000" rIns="0" bIns="0" rtlCol="0" anchor="t">
            <a:noAutofit/>
          </a:bodyPr>
          <a:lstStyle>
            <a:lvl1pPr algn="l">
              <a:defRPr sz="9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25008E5D-CECB-8A46-B7E1-B5DE82270314}" type="datetime1">
              <a:rPr lang="de-DE" smtClean="0"/>
              <a:t>19.12.24</a:t>
            </a:fld>
            <a:endParaRPr lang="de-DE"/>
          </a:p>
        </p:txBody>
      </p:sp>
      <p:sp>
        <p:nvSpPr>
          <p:cNvPr id="9" name="Fußzeilenplatzhalter 6">
            <a:extLst>
              <a:ext uri="{FF2B5EF4-FFF2-40B4-BE49-F238E27FC236}">
                <a16:creationId xmlns:a16="http://schemas.microsoft.com/office/drawing/2014/main" id="{A6977DF9-23BE-FC1B-F7E5-6CA2A15AD5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181225" y="6381328"/>
            <a:ext cx="9200835" cy="214552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l">
              <a:defRPr sz="9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10" name="Foliennummernplatzhalter 7">
            <a:extLst>
              <a:ext uri="{FF2B5EF4-FFF2-40B4-BE49-F238E27FC236}">
                <a16:creationId xmlns:a16="http://schemas.microsoft.com/office/drawing/2014/main" id="{5C3C1E8D-8612-980F-6F27-9D938F1BBA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24013" y="6381328"/>
            <a:ext cx="360000" cy="216000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r">
              <a:defRPr sz="90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8CFDFCC3-8B40-4EE5-B231-005F2F1C6A6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02E74DDE-57BD-FACD-F011-B94EFD99B2B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50863" y="542721"/>
            <a:ext cx="2376488" cy="2376489"/>
          </a:xfrm>
          <a:prstGeom prst="snip2DiagRect">
            <a:avLst>
              <a:gd name="adj1" fmla="val 12170"/>
              <a:gd name="adj2" fmla="val 0"/>
            </a:avLst>
          </a:prstGeom>
          <a:solidFill>
            <a:schemeClr val="accent1"/>
          </a:solidFill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lang="de-DE" sz="11000" dirty="0">
                <a:solidFill>
                  <a:schemeClr val="tx2"/>
                </a:solidFill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10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3pPr>
            <a:lvl4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6pPr>
            <a:lvl7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7pPr>
            <a:lvl8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8pPr>
            <a:lvl9pPr marL="0" indent="0" algn="ctr">
              <a:spcAft>
                <a:spcPts val="0"/>
              </a:spcAft>
              <a:buNone/>
              <a:defRPr sz="11000" b="1">
                <a:solidFill>
                  <a:schemeClr val="bg1"/>
                </a:solidFill>
                <a:latin typeface="+mj-lt"/>
              </a:defRPr>
            </a:lvl9pPr>
          </a:lstStyle>
          <a:p>
            <a:pPr lvl="0" algn="ctr">
              <a:spcAft>
                <a:spcPts val="0"/>
              </a:spcAft>
            </a:pPr>
            <a:r>
              <a:rPr lang="de-DE"/>
              <a:t>00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B2024899-17C8-7555-550B-1EE32E6CFD3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78711" y="324817"/>
            <a:ext cx="803098" cy="21134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51A5F04-64C7-B9A0-D98B-72F701FEFFE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61200" y="2997200"/>
            <a:ext cx="10820860" cy="1441026"/>
          </a:xfr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defRPr sz="4800" b="1" i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/>
              <a:t>Aktuelles Kapitel</a:t>
            </a:r>
          </a:p>
        </p:txBody>
      </p:sp>
      <p:sp>
        <p:nvSpPr>
          <p:cNvPr id="5" name="Untertitel 2">
            <a:extLst>
              <a:ext uri="{FF2B5EF4-FFF2-40B4-BE49-F238E27FC236}">
                <a16:creationId xmlns:a16="http://schemas.microsoft.com/office/drawing/2014/main" id="{078006F2-FB61-8A66-C19D-67AC7A91F35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61200" y="4581028"/>
            <a:ext cx="10813909" cy="1440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3400" algn="l"/>
              </a:tabLst>
              <a:defRPr sz="20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/>
              <a:t>Optionale Einführung in das Kapitel </a:t>
            </a:r>
            <a:br>
              <a:rPr lang="de-DE"/>
            </a:br>
            <a:r>
              <a:rPr lang="de-DE"/>
              <a:t>(in 1 – 2 Zeilen)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F93EBDC1-7724-9E2A-7A79-A54AF195A3A7}"/>
              </a:ext>
            </a:extLst>
          </p:cNvPr>
          <p:cNvSpPr/>
          <p:nvPr userDrawn="1"/>
        </p:nvSpPr>
        <p:spPr bwMode="gray">
          <a:xfrm>
            <a:off x="263352" y="6309320"/>
            <a:ext cx="11665296" cy="43204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6043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White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6A8C11E-A4FB-46CD-B4A5-E93B19F627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7686538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2" imgW="415" imgH="416" progId="TCLayout.ActiveDocument.1">
                  <p:embed/>
                </p:oleObj>
              </mc:Choice>
              <mc:Fallback>
                <p:oleObj name="think-cell Folie" r:id="rId32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6A8C11E-A4FB-46CD-B4A5-E93B19F627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407368" y="332656"/>
            <a:ext cx="11376000" cy="4559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07988" y="1557338"/>
            <a:ext cx="11376025" cy="44640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A232406-5D1F-4019-A1B4-D1FE1B8E5B2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1293" y="6381328"/>
            <a:ext cx="766235" cy="216024"/>
          </a:xfrm>
          <a:prstGeom prst="rect">
            <a:avLst/>
          </a:prstGeom>
        </p:spPr>
        <p:txBody>
          <a:bodyPr vert="horz" wrap="none" lIns="0" tIns="36000" rIns="0" bIns="0" rtlCol="0" anchor="t">
            <a:noAutofit/>
          </a:bodyPr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fld id="{F591422C-C3A5-404F-A1E9-F501E1BEB242}" type="datetime1">
              <a:rPr lang="de-DE" smtClean="0"/>
              <a:t>19.12.24</a:t>
            </a:fld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0422BFB-FDCF-40DF-8706-BE2DD1303A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943753" y="6381328"/>
            <a:ext cx="9408831" cy="214552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55CFDEC0-FDC8-4458-9278-C1E1E7F898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24013" y="6381328"/>
            <a:ext cx="360000" cy="216000"/>
          </a:xfrm>
          <a:prstGeom prst="rect">
            <a:avLst/>
          </a:prstGeom>
        </p:spPr>
        <p:txBody>
          <a:bodyPr vert="horz" lIns="0" tIns="36000" rIns="0" bIns="0" rtlCol="0" anchor="t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8CFDFCC3-8B40-4EE5-B231-005F2F1C6A68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028BC2D0-DB4B-493D-B494-1587AF91180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07368" y="-210066"/>
            <a:ext cx="0" cy="72000"/>
          </a:xfrm>
          <a:prstGeom prst="line">
            <a:avLst/>
          </a:prstGeom>
          <a:ln w="6350">
            <a:solidFill>
              <a:srgbClr val="E3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D3DDC106-3D96-492C-934E-5E56B69FA20C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935760" y="-210066"/>
            <a:ext cx="0" cy="72000"/>
          </a:xfrm>
          <a:prstGeom prst="line">
            <a:avLst/>
          </a:prstGeom>
          <a:ln w="6350">
            <a:solidFill>
              <a:srgbClr val="E3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FDC58F67-1BD0-4280-B265-2A51CDE1985C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367808" y="-210066"/>
            <a:ext cx="0" cy="72000"/>
          </a:xfrm>
          <a:prstGeom prst="line">
            <a:avLst/>
          </a:prstGeom>
          <a:ln w="6350">
            <a:solidFill>
              <a:srgbClr val="E3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BAAC8661-90CE-4537-9100-7C5F573F93C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5879976" y="-210066"/>
            <a:ext cx="0" cy="72000"/>
          </a:xfrm>
          <a:prstGeom prst="line">
            <a:avLst/>
          </a:prstGeom>
          <a:ln w="6350">
            <a:solidFill>
              <a:srgbClr val="E3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23E55292-57DB-4CA8-9AC5-D138423FE4B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312024" y="-210066"/>
            <a:ext cx="0" cy="72000"/>
          </a:xfrm>
          <a:prstGeom prst="line">
            <a:avLst/>
          </a:prstGeom>
          <a:ln w="6350">
            <a:solidFill>
              <a:srgbClr val="E3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237C332C-740E-4084-B28E-2D7E1E136C09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824192" y="-210066"/>
            <a:ext cx="0" cy="72000"/>
          </a:xfrm>
          <a:prstGeom prst="line">
            <a:avLst/>
          </a:prstGeom>
          <a:ln w="6350">
            <a:solidFill>
              <a:srgbClr val="E3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90FB4CB5-57B5-4C7A-9E6C-F430DE61AC0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256240" y="-210066"/>
            <a:ext cx="0" cy="72000"/>
          </a:xfrm>
          <a:prstGeom prst="line">
            <a:avLst/>
          </a:prstGeom>
          <a:ln w="6350">
            <a:solidFill>
              <a:srgbClr val="E3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6CF3DE2-72C5-4897-919E-99D960EC288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1784632" y="-210066"/>
            <a:ext cx="0" cy="72000"/>
          </a:xfrm>
          <a:prstGeom prst="line">
            <a:avLst/>
          </a:prstGeom>
          <a:ln w="6350">
            <a:solidFill>
              <a:srgbClr val="E3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96757901-4597-4461-A99C-BFB6F2F4A700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-132688" y="1520792"/>
            <a:ext cx="0" cy="72000"/>
          </a:xfrm>
          <a:prstGeom prst="line">
            <a:avLst/>
          </a:prstGeom>
          <a:ln w="6350">
            <a:solidFill>
              <a:srgbClr val="E3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FAD82119-9505-4BEC-8FBB-B5AE14FCE978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-132688" y="5985288"/>
            <a:ext cx="0" cy="72000"/>
          </a:xfrm>
          <a:prstGeom prst="line">
            <a:avLst/>
          </a:prstGeom>
          <a:ln w="6350">
            <a:solidFill>
              <a:srgbClr val="E3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B4524A53-2233-4808-B2A7-61F3FD2AB84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2927648" y="-210066"/>
            <a:ext cx="0" cy="72000"/>
          </a:xfrm>
          <a:prstGeom prst="line">
            <a:avLst/>
          </a:prstGeom>
          <a:ln w="6350">
            <a:solidFill>
              <a:srgbClr val="E3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60C3BCFD-2B75-4729-ACE4-0FD1D0B73D17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359696" y="-210066"/>
            <a:ext cx="0" cy="72000"/>
          </a:xfrm>
          <a:prstGeom prst="line">
            <a:avLst/>
          </a:prstGeom>
          <a:ln w="6350">
            <a:solidFill>
              <a:srgbClr val="E3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E67127EA-D96D-4F54-86CC-ADDFE9AB70C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832304" y="-210066"/>
            <a:ext cx="0" cy="72000"/>
          </a:xfrm>
          <a:prstGeom prst="line">
            <a:avLst/>
          </a:prstGeom>
          <a:ln w="6350">
            <a:solidFill>
              <a:srgbClr val="E3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9FBA3C99-BDBA-4C27-8135-CD581ED47E3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9264352" y="-210066"/>
            <a:ext cx="0" cy="72000"/>
          </a:xfrm>
          <a:prstGeom prst="line">
            <a:avLst/>
          </a:prstGeom>
          <a:ln w="6350">
            <a:solidFill>
              <a:srgbClr val="E3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942B4112-BEBE-8499-552D-89BC1F22928E}"/>
              </a:ext>
            </a:extLst>
          </p:cNvPr>
          <p:cNvSpPr/>
          <p:nvPr userDrawn="1"/>
        </p:nvSpPr>
        <p:spPr bwMode="gray">
          <a:xfrm>
            <a:off x="407987" y="6381328"/>
            <a:ext cx="577081" cy="17485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0" rtlCol="0" anchor="t">
            <a:spAutoFit/>
          </a:bodyPr>
          <a:lstStyle/>
          <a:p>
            <a:pPr algn="l"/>
            <a:r>
              <a:rPr lang="en-US" sz="900" noProof="0">
                <a:solidFill>
                  <a:schemeClr val="tx1"/>
                </a:solidFill>
              </a:rPr>
              <a:t>Schwarz IT</a:t>
            </a:r>
          </a:p>
        </p:txBody>
      </p:sp>
    </p:spTree>
    <p:extLst>
      <p:ext uri="{BB962C8B-B14F-4D97-AF65-F5344CB8AC3E}">
        <p14:creationId xmlns:p14="http://schemas.microsoft.com/office/powerpoint/2010/main" val="259861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14" r:id="rId2"/>
    <p:sldLayoutId id="2147483718" r:id="rId3"/>
    <p:sldLayoutId id="2147483715" r:id="rId4"/>
    <p:sldLayoutId id="2147483717" r:id="rId5"/>
    <p:sldLayoutId id="2147483707" r:id="rId6"/>
    <p:sldLayoutId id="2147483700" r:id="rId7"/>
    <p:sldLayoutId id="2147483701" r:id="rId8"/>
    <p:sldLayoutId id="2147483671" r:id="rId9"/>
    <p:sldLayoutId id="2147483716" r:id="rId10"/>
    <p:sldLayoutId id="2147483698" r:id="rId11"/>
    <p:sldLayoutId id="2147483672" r:id="rId12"/>
    <p:sldLayoutId id="2147483719" r:id="rId13"/>
    <p:sldLayoutId id="2147483702" r:id="rId14"/>
    <p:sldLayoutId id="2147483666" r:id="rId15"/>
    <p:sldLayoutId id="2147483667" r:id="rId16"/>
    <p:sldLayoutId id="2147483673" r:id="rId17"/>
    <p:sldLayoutId id="2147483674" r:id="rId18"/>
    <p:sldLayoutId id="2147483654" r:id="rId19"/>
    <p:sldLayoutId id="2147483675" r:id="rId20"/>
    <p:sldLayoutId id="2147483676" r:id="rId21"/>
    <p:sldLayoutId id="2147483678" r:id="rId22"/>
    <p:sldLayoutId id="2147483679" r:id="rId23"/>
    <p:sldLayoutId id="2147483682" r:id="rId24"/>
    <p:sldLayoutId id="2147483680" r:id="rId25"/>
    <p:sldLayoutId id="2147483681" r:id="rId26"/>
    <p:sldLayoutId id="2147483709" r:id="rId27"/>
    <p:sldLayoutId id="2147483710" r:id="rId28"/>
    <p:sldLayoutId id="2147483655" r:id="rId29"/>
  </p:sldLayoutIdLst>
  <p:hf hdr="0"/>
  <p:txStyles>
    <p:titleStyle>
      <a:lvl1pPr algn="l" defTabSz="914377" rtl="0" eaLnBrk="1" latinLnBrk="0" hangingPunct="1">
        <a:lnSpc>
          <a:spcPct val="95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1800"/>
        </a:spcAft>
        <a:buFont typeface="Arial" panose="020B0604020202020204" pitchFamily="34" charset="0"/>
        <a:buNone/>
        <a:defRPr sz="1600" b="1" kern="1200">
          <a:solidFill>
            <a:schemeClr val="accent6"/>
          </a:solidFill>
          <a:latin typeface="+mj-lt"/>
          <a:ea typeface="+mn-ea"/>
          <a:cs typeface="+mn-cs"/>
        </a:defRPr>
      </a:lvl1pPr>
      <a:lvl2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1800"/>
        </a:spcAft>
        <a:buFont typeface="Arial" panose="020B0604020202020204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177800" indent="-17780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6"/>
        </a:buClr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355600" indent="-17780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6"/>
        </a:buClr>
        <a:buFont typeface="Symbol" panose="05050102010706020507" pitchFamily="18" charset="2"/>
        <a:buChar char="-"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533400" indent="-17780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6"/>
        </a:buClr>
        <a:buFont typeface="Symbol" panose="05050102010706020507" pitchFamily="18" charset="2"/>
        <a:buChar char="-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723900" indent="-19050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6"/>
        </a:buClr>
        <a:buFont typeface="Symbol" panose="05050102010706020507" pitchFamily="18" charset="2"/>
        <a:buChar char="-"/>
        <a:defRPr sz="1600" kern="1200">
          <a:solidFill>
            <a:schemeClr val="tx2"/>
          </a:solidFill>
          <a:latin typeface="+mn-lt"/>
          <a:ea typeface="+mn-ea"/>
          <a:cs typeface="+mn-cs"/>
        </a:defRPr>
      </a:lvl6pPr>
      <a:lvl7pPr marL="723900" indent="-19050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6"/>
        </a:buClr>
        <a:buFont typeface="Symbol" panose="05050102010706020507" pitchFamily="18" charset="2"/>
        <a:buChar char="-"/>
        <a:defRPr sz="1600" kern="1200">
          <a:solidFill>
            <a:schemeClr val="tx2"/>
          </a:solidFill>
          <a:latin typeface="+mn-lt"/>
          <a:ea typeface="+mn-ea"/>
          <a:cs typeface="+mn-cs"/>
        </a:defRPr>
      </a:lvl7pPr>
      <a:lvl8pPr marL="723900" indent="-19050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6"/>
        </a:buClr>
        <a:buFont typeface="Symbol" panose="05050102010706020507" pitchFamily="18" charset="2"/>
        <a:buChar char="-"/>
        <a:defRPr sz="1600" kern="1200">
          <a:solidFill>
            <a:schemeClr val="tx2"/>
          </a:solidFill>
          <a:latin typeface="+mn-lt"/>
          <a:ea typeface="+mn-ea"/>
          <a:cs typeface="+mn-cs"/>
        </a:defRPr>
      </a:lvl8pPr>
      <a:lvl9pPr marL="723900" indent="-19050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6"/>
        </a:buClr>
        <a:buFont typeface="Symbol" panose="05050102010706020507" pitchFamily="18" charset="2"/>
        <a:buChar char="-"/>
        <a:defRPr sz="16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7" userDrawn="1">
          <p15:clr>
            <a:srgbClr val="F26B43"/>
          </p15:clr>
        </p15:guide>
        <p15:guide id="12" pos="7423" userDrawn="1">
          <p15:clr>
            <a:srgbClr val="F26B43"/>
          </p15:clr>
        </p15:guide>
        <p15:guide id="13" orient="horz" pos="981" userDrawn="1">
          <p15:clr>
            <a:srgbClr val="F26B43"/>
          </p15:clr>
        </p15:guide>
        <p15:guide id="14" orient="horz" pos="3793" userDrawn="1">
          <p15:clr>
            <a:srgbClr val="F26B43"/>
          </p15:clr>
        </p15:guide>
        <p15:guide id="15" orient="horz" pos="2160" userDrawn="1">
          <p15:clr>
            <a:srgbClr val="9FCC3B"/>
          </p15:clr>
        </p15:guide>
        <p15:guide id="16" pos="3840" userDrawn="1">
          <p15:clr>
            <a:srgbClr val="9FCC3B"/>
          </p15:clr>
        </p15:guide>
        <p15:guide id="17" pos="1844" userDrawn="1">
          <p15:clr>
            <a:srgbClr val="5ACBF0"/>
          </p15:clr>
        </p15:guide>
        <p15:guide id="18" pos="2116" userDrawn="1">
          <p15:clr>
            <a:srgbClr val="5ACBF0"/>
          </p15:clr>
        </p15:guide>
        <p15:guide id="19" pos="2479" userDrawn="1">
          <p15:clr>
            <a:srgbClr val="5ACBF0"/>
          </p15:clr>
        </p15:guide>
        <p15:guide id="20" pos="2751" userDrawn="1">
          <p15:clr>
            <a:srgbClr val="5ACBF0"/>
          </p15:clr>
        </p15:guide>
        <p15:guide id="21" pos="3704" userDrawn="1">
          <p15:clr>
            <a:srgbClr val="5ACBF0"/>
          </p15:clr>
        </p15:guide>
        <p15:guide id="22" pos="3976" userDrawn="1">
          <p15:clr>
            <a:srgbClr val="5ACBF0"/>
          </p15:clr>
        </p15:guide>
        <p15:guide id="23" pos="4929" userDrawn="1">
          <p15:clr>
            <a:srgbClr val="5ACBF0"/>
          </p15:clr>
        </p15:guide>
        <p15:guide id="24" pos="5201" userDrawn="1">
          <p15:clr>
            <a:srgbClr val="5ACBF0"/>
          </p15:clr>
        </p15:guide>
        <p15:guide id="25" pos="5564" userDrawn="1">
          <p15:clr>
            <a:srgbClr val="5ACBF0"/>
          </p15:clr>
        </p15:guide>
        <p15:guide id="26" pos="5836" userDrawn="1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5.sv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4CE5C8E-A89F-3AAE-2C88-F7CFF008159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A2C1259-019C-B543-8267-DF67EE255892}" type="datetime1">
              <a:rPr lang="de-DE" smtClean="0"/>
              <a:t>19.12.24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8DB1FAD-ADB8-44BB-4FC2-92B3E5AB85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B5DDB02-AF73-3F03-B65C-9CA4A32D6A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CFDFCC3-8B40-4EE5-B231-005F2F1C6A68}" type="slidenum">
              <a:rPr lang="de-DE" smtClean="0"/>
              <a:pPr/>
              <a:t>1</a:t>
            </a:fld>
            <a:endParaRPr lang="de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743CD395-1F29-5DEF-FEC8-4063F12C43D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Nesser-Online-Shop</a:t>
            </a:r>
          </a:p>
        </p:txBody>
      </p:sp>
      <p:sp>
        <p:nvSpPr>
          <p:cNvPr id="10" name="Untertitel 9">
            <a:extLst>
              <a:ext uri="{FF2B5EF4-FFF2-40B4-BE49-F238E27FC236}">
                <a16:creationId xmlns:a16="http://schemas.microsoft.com/office/drawing/2014/main" id="{266A2F9C-5E72-4F87-B565-0E0BC933164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Assaad Naes und Oliver Wallisch</a:t>
            </a:r>
          </a:p>
        </p:txBody>
      </p:sp>
    </p:spTree>
    <p:extLst>
      <p:ext uri="{BB962C8B-B14F-4D97-AF65-F5344CB8AC3E}">
        <p14:creationId xmlns:p14="http://schemas.microsoft.com/office/powerpoint/2010/main" val="1897318462"/>
      </p:ext>
    </p:extLst>
  </p:cSld>
  <p:clrMapOvr>
    <a:masterClrMapping/>
  </p:clrMapOvr>
  <p:transition>
    <p:split orient="vert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3FC9D5-E98D-3199-EA25-E97377277D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8AD33A6-64B7-FB7C-8C70-92B198F0A03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A5F1573-991C-9B40-AD8B-682DBEA4798D}" type="datetime1">
              <a:rPr lang="de-DE" smtClean="0"/>
              <a:t>19.12.24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2F3E7AC-943B-E09B-87D9-CA7DA2AFF3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08216" y="6372518"/>
            <a:ext cx="9408831" cy="214552"/>
          </a:xfrm>
        </p:spPr>
        <p:txBody>
          <a:bodyPr/>
          <a:lstStyle/>
          <a:p>
            <a:r>
              <a:rPr lang="de-DE" dirty="0"/>
              <a:t>Spring Security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D3B5026D-CD4E-4FD1-79D6-DCD560079A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pring Security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B4C35B2-E07C-FEAC-4674-72A316EC15E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CFDFCC3-8B40-4EE5-B231-005F2F1C6A68}" type="slidenum">
              <a:rPr lang="de-DE" smtClean="0"/>
              <a:pPr/>
              <a:t>10</a:t>
            </a:fld>
            <a:endParaRPr lang="de-DE"/>
          </a:p>
        </p:txBody>
      </p:sp>
      <p:pic>
        <p:nvPicPr>
          <p:cNvPr id="13" name="Picture 12" descr="A screenshot of a login form&#10;&#10;Description automatically generated">
            <a:extLst>
              <a:ext uri="{FF2B5EF4-FFF2-40B4-BE49-F238E27FC236}">
                <a16:creationId xmlns:a16="http://schemas.microsoft.com/office/drawing/2014/main" id="{A42968C1-43D1-9303-AA10-87CBBE13240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0874" y="1432893"/>
            <a:ext cx="6290251" cy="3992213"/>
          </a:xfrm>
          <a:prstGeom prst="rect">
            <a:avLst/>
          </a:prstGeom>
          <a:ln>
            <a:solidFill>
              <a:schemeClr val="bg1"/>
            </a:solidFill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028858211"/>
      </p:ext>
    </p:extLst>
  </p:cSld>
  <p:clrMapOvr>
    <a:masterClrMapping/>
  </p:clrMapOvr>
  <p:transition>
    <p:split orient="vert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800BE2-09A0-EAA2-4091-C26B380AF1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03CDC64-6B26-DDE0-7EBD-612C49A6600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A51BE5C-7194-8B43-929A-93F6846C8656}" type="datetime1">
              <a:rPr lang="de-DE" smtClean="0"/>
              <a:t>19.12.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72D2BAC-0637-BF31-C0D1-B9851CA528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45CE4B89-6E31-9B07-A20A-E0B4C35BC1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CFDFCC3-8B40-4EE5-B231-005F2F1C6A68}" type="slidenum">
              <a:rPr lang="de-DE" smtClean="0"/>
              <a:pPr/>
              <a:t>11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5BF9F8E-9388-20E4-7F8D-8EB2546D965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05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94538C1-2AB5-E982-442C-D5325B705B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863" y="3162566"/>
            <a:ext cx="10820860" cy="1040850"/>
          </a:xfrm>
        </p:spPr>
        <p:txBody>
          <a:bodyPr/>
          <a:lstStyle/>
          <a:p>
            <a:r>
              <a:rPr lang="de-DE" dirty="0"/>
              <a:t>JWT</a:t>
            </a:r>
          </a:p>
        </p:txBody>
      </p:sp>
    </p:spTree>
    <p:extLst>
      <p:ext uri="{BB962C8B-B14F-4D97-AF65-F5344CB8AC3E}">
        <p14:creationId xmlns:p14="http://schemas.microsoft.com/office/powerpoint/2010/main" val="3826453294"/>
      </p:ext>
    </p:extLst>
  </p:cSld>
  <p:clrMapOvr>
    <a:masterClrMapping/>
  </p:clrMapOvr>
  <p:transition>
    <p:split orient="vert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DC3C3F-B531-0761-60D8-10C126AAF6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A60AE52-3A5B-0016-C5DE-A380802F232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A5F1573-991C-9B40-AD8B-682DBEA4798D}" type="datetime1">
              <a:rPr lang="de-DE" smtClean="0"/>
              <a:t>19.12.24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A215BCB-A15C-2E6A-6BB5-63F9AA7612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08216" y="6372518"/>
            <a:ext cx="9408831" cy="214552"/>
          </a:xfrm>
        </p:spPr>
        <p:txBody>
          <a:bodyPr/>
          <a:lstStyle/>
          <a:p>
            <a:r>
              <a:rPr lang="de-DE" dirty="0"/>
              <a:t>JW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93CCE70A-4654-E036-2501-42062DF8D4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ession-</a:t>
            </a:r>
            <a:r>
              <a:rPr lang="en-GB" dirty="0" err="1"/>
              <a:t>basierte</a:t>
            </a:r>
            <a:r>
              <a:rPr lang="en-GB" dirty="0"/>
              <a:t> </a:t>
            </a:r>
            <a:r>
              <a:rPr lang="en-GB" dirty="0" err="1"/>
              <a:t>Authentifizierung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7505650-7CA9-3578-E1CD-BC147C38E9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CFDFCC3-8B40-4EE5-B231-005F2F1C6A68}" type="slidenum">
              <a:rPr lang="de-DE" smtClean="0"/>
              <a:pPr/>
              <a:t>12</a:t>
            </a:fld>
            <a:endParaRPr lang="de-DE"/>
          </a:p>
        </p:txBody>
      </p:sp>
      <p:pic>
        <p:nvPicPr>
          <p:cNvPr id="13" name="Picture 12" descr="A computer servers with green lights&#10;&#10;Description automatically generated with medium confidence">
            <a:extLst>
              <a:ext uri="{FF2B5EF4-FFF2-40B4-BE49-F238E27FC236}">
                <a16:creationId xmlns:a16="http://schemas.microsoft.com/office/drawing/2014/main" id="{C19282E0-7A91-530D-4836-88E2A79BA88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6039" y="2676797"/>
            <a:ext cx="2030730" cy="2030730"/>
          </a:xfrm>
          <a:prstGeom prst="rect">
            <a:avLst/>
          </a:prstGeom>
        </p:spPr>
      </p:pic>
      <p:pic>
        <p:nvPicPr>
          <p:cNvPr id="15" name="Picture 14" descr="A person with a computer&#10;&#10;Description automatically generated">
            <a:extLst>
              <a:ext uri="{FF2B5EF4-FFF2-40B4-BE49-F238E27FC236}">
                <a16:creationId xmlns:a16="http://schemas.microsoft.com/office/drawing/2014/main" id="{970DC4A6-EE85-8726-F7A5-E6C705C4FE1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225" y="2150472"/>
            <a:ext cx="2557055" cy="2557055"/>
          </a:xfrm>
          <a:prstGeom prst="rect">
            <a:avLst/>
          </a:prstGeom>
        </p:spPr>
      </p:pic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2F6E9439-FE1B-CAB9-1412-8BD4E690244E}"/>
              </a:ext>
            </a:extLst>
          </p:cNvPr>
          <p:cNvCxnSpPr>
            <a:cxnSpLocks/>
          </p:cNvCxnSpPr>
          <p:nvPr/>
        </p:nvCxnSpPr>
        <p:spPr bwMode="gray">
          <a:xfrm>
            <a:off x="3709852" y="3631250"/>
            <a:ext cx="4964639" cy="0"/>
          </a:xfrm>
          <a:prstGeom prst="straightConnector1">
            <a:avLst/>
          </a:prstGeom>
          <a:ln w="571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CE2F3BD6-9CF1-993A-8817-FDE13B571461}"/>
              </a:ext>
            </a:extLst>
          </p:cNvPr>
          <p:cNvSpPr txBox="1"/>
          <p:nvPr/>
        </p:nvSpPr>
        <p:spPr bwMode="gray">
          <a:xfrm>
            <a:off x="4506564" y="3059412"/>
            <a:ext cx="3177608" cy="35269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  <a:buClr>
                <a:schemeClr val="accent1"/>
              </a:buClr>
            </a:pPr>
            <a:r>
              <a:rPr lang="en-DE" sz="1800" b="1" dirty="0"/>
              <a:t>Benutzername und Passwort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6EE6CD0-C441-CB9A-FCEA-172D8E12A19E}"/>
              </a:ext>
            </a:extLst>
          </p:cNvPr>
          <p:cNvGrpSpPr/>
          <p:nvPr/>
        </p:nvGrpSpPr>
        <p:grpSpPr>
          <a:xfrm>
            <a:off x="9337208" y="971503"/>
            <a:ext cx="1608391" cy="1276550"/>
            <a:chOff x="9337208" y="971503"/>
            <a:chExt cx="1608391" cy="1276550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33BF3CDC-2297-41DA-8C40-2B8630A41632}"/>
                </a:ext>
              </a:extLst>
            </p:cNvPr>
            <p:cNvSpPr txBox="1"/>
            <p:nvPr/>
          </p:nvSpPr>
          <p:spPr bwMode="gray">
            <a:xfrm>
              <a:off x="9337208" y="971503"/>
              <a:ext cx="1608391" cy="5263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l">
                <a:spcAft>
                  <a:spcPts val="600"/>
                </a:spcAft>
                <a:buClr>
                  <a:schemeClr val="accent1"/>
                </a:buClr>
              </a:pPr>
              <a:r>
                <a:rPr lang="en-DE" sz="2400" b="1" dirty="0"/>
                <a:t>Session ID</a:t>
              </a:r>
            </a:p>
          </p:txBody>
        </p:sp>
        <p:pic>
          <p:nvPicPr>
            <p:cNvPr id="20" name="Picture 19" descr="A cartoon of a cookie&#10;&#10;Description automatically generated">
              <a:extLst>
                <a:ext uri="{FF2B5EF4-FFF2-40B4-BE49-F238E27FC236}">
                  <a16:creationId xmlns:a16="http://schemas.microsoft.com/office/drawing/2014/main" id="{C0CB6CED-9508-8E72-9990-453D45B650C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1118" y="1369358"/>
              <a:ext cx="878695" cy="87869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39370750"/>
      </p:ext>
    </p:extLst>
  </p:cSld>
  <p:clrMapOvr>
    <a:masterClrMapping/>
  </p:clrMapOvr>
  <p:transition>
    <p:split orient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8" presetClass="entr" presetSubtype="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508 0.02153 L -0.66263 0.56551 " pathEditMode="relative" rAng="0" ptsTypes="AA">
                                      <p:cBhvr>
                                        <p:cTn id="19" dur="2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2878" y="2719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46EE10-E94E-1EFE-14E6-2873806CC8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Box 28">
            <a:extLst>
              <a:ext uri="{FF2B5EF4-FFF2-40B4-BE49-F238E27FC236}">
                <a16:creationId xmlns:a16="http://schemas.microsoft.com/office/drawing/2014/main" id="{E5A6CC1A-FE6B-C4FA-C242-047AA4B66905}"/>
              </a:ext>
            </a:extLst>
          </p:cNvPr>
          <p:cNvSpPr txBox="1"/>
          <p:nvPr/>
        </p:nvSpPr>
        <p:spPr bwMode="gray">
          <a:xfrm>
            <a:off x="11197295" y="4707527"/>
            <a:ext cx="254643" cy="47346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  <a:buClr>
                <a:schemeClr val="accent1"/>
              </a:buClr>
            </a:pPr>
            <a:r>
              <a:rPr lang="en-DE" sz="3200" b="1" dirty="0"/>
              <a:t>?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13DE222-1DA3-5830-72A7-462C0A7F569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A5F1573-991C-9B40-AD8B-682DBEA4798D}" type="datetime1">
              <a:rPr lang="de-DE" smtClean="0"/>
              <a:t>19.12.24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770021B-2018-33F5-35EC-2C244469AC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08216" y="6372518"/>
            <a:ext cx="9408831" cy="214552"/>
          </a:xfrm>
        </p:spPr>
        <p:txBody>
          <a:bodyPr/>
          <a:lstStyle/>
          <a:p>
            <a:r>
              <a:rPr lang="de-DE" dirty="0"/>
              <a:t>JW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E7CF6F19-89C5-2B9E-995C-2956504173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ession-</a:t>
            </a:r>
            <a:r>
              <a:rPr lang="en-GB" dirty="0" err="1"/>
              <a:t>basierte</a:t>
            </a:r>
            <a:r>
              <a:rPr lang="en-GB" dirty="0"/>
              <a:t> </a:t>
            </a:r>
            <a:r>
              <a:rPr lang="en-GB" dirty="0" err="1"/>
              <a:t>Authentifizierung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12D4283-0FA2-2355-EB66-395A7B3F1E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CFDFCC3-8B40-4EE5-B231-005F2F1C6A68}" type="slidenum">
              <a:rPr lang="de-DE" smtClean="0"/>
              <a:pPr/>
              <a:t>13</a:t>
            </a:fld>
            <a:endParaRPr lang="de-DE"/>
          </a:p>
        </p:txBody>
      </p:sp>
      <p:pic>
        <p:nvPicPr>
          <p:cNvPr id="13" name="Picture 12" descr="A computer servers with green lights&#10;&#10;Description automatically generated with medium confidence">
            <a:extLst>
              <a:ext uri="{FF2B5EF4-FFF2-40B4-BE49-F238E27FC236}">
                <a16:creationId xmlns:a16="http://schemas.microsoft.com/office/drawing/2014/main" id="{0933ADDC-106F-BD9D-C97F-FAD6C830FE2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5191" y="1146310"/>
            <a:ext cx="1391855" cy="1391855"/>
          </a:xfrm>
          <a:prstGeom prst="rect">
            <a:avLst/>
          </a:prstGeom>
        </p:spPr>
      </p:pic>
      <p:pic>
        <p:nvPicPr>
          <p:cNvPr id="15" name="Picture 14" descr="A person with a computer&#10;&#10;Description automatically generated">
            <a:extLst>
              <a:ext uri="{FF2B5EF4-FFF2-40B4-BE49-F238E27FC236}">
                <a16:creationId xmlns:a16="http://schemas.microsoft.com/office/drawing/2014/main" id="{9D814DDD-FA83-6B18-EF50-CBF0503937A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225" y="2150472"/>
            <a:ext cx="2557055" cy="2557055"/>
          </a:xfrm>
          <a:prstGeom prst="rect">
            <a:avLst/>
          </a:prstGeom>
        </p:spPr>
      </p:pic>
      <p:pic>
        <p:nvPicPr>
          <p:cNvPr id="9" name="Picture 8" descr="A computer servers with green lights&#10;&#10;Description automatically generated with medium confidence">
            <a:extLst>
              <a:ext uri="{FF2B5EF4-FFF2-40B4-BE49-F238E27FC236}">
                <a16:creationId xmlns:a16="http://schemas.microsoft.com/office/drawing/2014/main" id="{73277706-1AC0-CA61-E3C3-01951DB483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5191" y="2730530"/>
            <a:ext cx="1391855" cy="1391855"/>
          </a:xfrm>
          <a:prstGeom prst="rect">
            <a:avLst/>
          </a:prstGeom>
        </p:spPr>
      </p:pic>
      <p:pic>
        <p:nvPicPr>
          <p:cNvPr id="10" name="Picture 9" descr="A computer servers with green lights&#10;&#10;Description automatically generated with medium confidence">
            <a:extLst>
              <a:ext uri="{FF2B5EF4-FFF2-40B4-BE49-F238E27FC236}">
                <a16:creationId xmlns:a16="http://schemas.microsoft.com/office/drawing/2014/main" id="{7497C4B0-74E5-2C11-8C89-A74503BAE51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5191" y="4314750"/>
            <a:ext cx="1391855" cy="1391855"/>
          </a:xfrm>
          <a:prstGeom prst="rect">
            <a:avLst/>
          </a:prstGeom>
        </p:spPr>
      </p:pic>
      <p:pic>
        <p:nvPicPr>
          <p:cNvPr id="12" name="Picture 11" descr="A green and orange diagram&#10;&#10;Description automatically generated with medium confidence">
            <a:extLst>
              <a:ext uri="{FF2B5EF4-FFF2-40B4-BE49-F238E27FC236}">
                <a16:creationId xmlns:a16="http://schemas.microsoft.com/office/drawing/2014/main" id="{C74842A8-726C-BF0B-D4F8-F153D867A0D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9595" y="2894312"/>
            <a:ext cx="1420438" cy="1420438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82063F91-74C6-F885-37B4-ADFDD538C88F}"/>
              </a:ext>
            </a:extLst>
          </p:cNvPr>
          <p:cNvSpPr txBox="1"/>
          <p:nvPr/>
        </p:nvSpPr>
        <p:spPr bwMode="gray">
          <a:xfrm>
            <a:off x="8233336" y="1726276"/>
            <a:ext cx="1391855" cy="33834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  <a:buClr>
                <a:schemeClr val="accent1"/>
              </a:buClr>
            </a:pPr>
            <a:r>
              <a:rPr lang="en-DE" sz="2000" b="1" dirty="0"/>
              <a:t>Session ID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00304B93-2703-5D49-0148-51F9B090C084}"/>
              </a:ext>
            </a:extLst>
          </p:cNvPr>
          <p:cNvCxnSpPr>
            <a:cxnSpLocks/>
          </p:cNvCxnSpPr>
          <p:nvPr/>
        </p:nvCxnSpPr>
        <p:spPr bwMode="gray">
          <a:xfrm>
            <a:off x="3383280" y="3573377"/>
            <a:ext cx="1671498" cy="0"/>
          </a:xfrm>
          <a:prstGeom prst="straightConnector1">
            <a:avLst/>
          </a:prstGeom>
          <a:ln w="571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4CE2EBB5-3E15-9D9C-0F8D-9E1F47A3F633}"/>
              </a:ext>
            </a:extLst>
          </p:cNvPr>
          <p:cNvCxnSpPr>
            <a:cxnSpLocks/>
          </p:cNvCxnSpPr>
          <p:nvPr/>
        </p:nvCxnSpPr>
        <p:spPr bwMode="gray">
          <a:xfrm>
            <a:off x="7137224" y="3587772"/>
            <a:ext cx="2180396" cy="1030527"/>
          </a:xfrm>
          <a:prstGeom prst="straightConnector1">
            <a:avLst/>
          </a:prstGeom>
          <a:ln w="571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565946"/>
      </p:ext>
    </p:extLst>
  </p:cSld>
  <p:clrMapOvr>
    <a:masterClrMapping/>
  </p:clrMapOvr>
  <p:transition>
    <p:split orient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8" presetClass="entr" presetSubtype="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8" presetClass="entr" presetSubtype="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  <p:bldP spid="14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08ACB9-1EC5-0B10-6796-317B62F4AA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7E4FF78B-0C70-058E-2DF3-BD4B566BCB4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A5F1573-991C-9B40-AD8B-682DBEA4798D}" type="datetime1">
              <a:rPr lang="de-DE" smtClean="0"/>
              <a:t>19.12.24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2B4762D-6B7C-06A4-6B96-93766E2B36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08216" y="6372518"/>
            <a:ext cx="9408831" cy="214552"/>
          </a:xfrm>
        </p:spPr>
        <p:txBody>
          <a:bodyPr/>
          <a:lstStyle/>
          <a:p>
            <a:r>
              <a:rPr lang="de-DE" dirty="0"/>
              <a:t>JW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29722727-A87B-C002-3640-95ECFAEC9D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oken-</a:t>
            </a:r>
            <a:r>
              <a:rPr lang="en-GB" dirty="0" err="1"/>
              <a:t>basierte</a:t>
            </a:r>
            <a:r>
              <a:rPr lang="en-GB" dirty="0"/>
              <a:t> </a:t>
            </a:r>
            <a:r>
              <a:rPr lang="en-GB" dirty="0" err="1"/>
              <a:t>Authentifizierung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47940FD-3753-84BB-D309-DF9CEADB98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CFDFCC3-8B40-4EE5-B231-005F2F1C6A68}" type="slidenum">
              <a:rPr lang="de-DE" smtClean="0"/>
              <a:pPr/>
              <a:t>14</a:t>
            </a:fld>
            <a:endParaRPr lang="de-DE"/>
          </a:p>
        </p:txBody>
      </p:sp>
      <p:pic>
        <p:nvPicPr>
          <p:cNvPr id="6" name="Picture 5" descr="A computer servers with green lights&#10;&#10;Description automatically generated with medium confidence">
            <a:extLst>
              <a:ext uri="{FF2B5EF4-FFF2-40B4-BE49-F238E27FC236}">
                <a16:creationId xmlns:a16="http://schemas.microsoft.com/office/drawing/2014/main" id="{D2A37560-355E-FEF4-77E0-8484C188AD2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1063" y="2384711"/>
            <a:ext cx="2257063" cy="2257063"/>
          </a:xfrm>
          <a:prstGeom prst="rect">
            <a:avLst/>
          </a:prstGeom>
        </p:spPr>
      </p:pic>
      <p:pic>
        <p:nvPicPr>
          <p:cNvPr id="7" name="Picture 6" descr="A person with a computer&#10;&#10;Description automatically generated">
            <a:extLst>
              <a:ext uri="{FF2B5EF4-FFF2-40B4-BE49-F238E27FC236}">
                <a16:creationId xmlns:a16="http://schemas.microsoft.com/office/drawing/2014/main" id="{0D0092DB-36C0-2119-F42D-0B19B18EDDB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225" y="2150472"/>
            <a:ext cx="2557055" cy="2557055"/>
          </a:xfrm>
          <a:prstGeom prst="rect">
            <a:avLst/>
          </a:prstGeom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D4302461-D00B-4ADD-9FC6-531452951595}"/>
              </a:ext>
            </a:extLst>
          </p:cNvPr>
          <p:cNvCxnSpPr>
            <a:cxnSpLocks/>
          </p:cNvCxnSpPr>
          <p:nvPr/>
        </p:nvCxnSpPr>
        <p:spPr bwMode="gray">
          <a:xfrm>
            <a:off x="3709852" y="3631250"/>
            <a:ext cx="4964639" cy="0"/>
          </a:xfrm>
          <a:prstGeom prst="straightConnector1">
            <a:avLst/>
          </a:prstGeom>
          <a:ln w="571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BAFA922C-CF1F-C575-EE5D-9C938C194BB5}"/>
              </a:ext>
            </a:extLst>
          </p:cNvPr>
          <p:cNvSpPr txBox="1"/>
          <p:nvPr/>
        </p:nvSpPr>
        <p:spPr bwMode="gray">
          <a:xfrm>
            <a:off x="4506564" y="3059412"/>
            <a:ext cx="3177608" cy="35269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  <a:buClr>
                <a:schemeClr val="accent1"/>
              </a:buClr>
            </a:pPr>
            <a:r>
              <a:rPr lang="en-DE" sz="1800" b="1" dirty="0"/>
              <a:t>Benutzername und Passwor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A4171CF-BB92-A9C4-0DDF-C688A97835A0}"/>
              </a:ext>
            </a:extLst>
          </p:cNvPr>
          <p:cNvSpPr txBox="1"/>
          <p:nvPr/>
        </p:nvSpPr>
        <p:spPr bwMode="gray">
          <a:xfrm>
            <a:off x="9551793" y="1345081"/>
            <a:ext cx="1155601" cy="4142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  <a:buClr>
                <a:schemeClr val="accent1"/>
              </a:buClr>
            </a:pPr>
            <a:r>
              <a:rPr lang="en-DE" sz="2400" b="1" dirty="0"/>
              <a:t>TOKEN</a:t>
            </a:r>
          </a:p>
        </p:txBody>
      </p:sp>
    </p:spTree>
    <p:extLst>
      <p:ext uri="{BB962C8B-B14F-4D97-AF65-F5344CB8AC3E}">
        <p14:creationId xmlns:p14="http://schemas.microsoft.com/office/powerpoint/2010/main" val="2472835210"/>
      </p:ext>
    </p:extLst>
  </p:cSld>
  <p:clrMapOvr>
    <a:masterClrMapping/>
  </p:clrMapOvr>
  <p:transition>
    <p:split orient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8" presetClass="entr" presetSubtype="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0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6.25E-7 2.59259E-6 L -0.66823 2.59259E-6 " pathEditMode="relative" rAng="0" ptsTypes="AA">
                                      <p:cBhvr>
                                        <p:cTn id="19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341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5" grpId="0"/>
      <p:bldP spid="15" grpId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C5968D-1854-FC69-725A-9AC6AD3800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6BF0D64-50BB-47F3-A7DE-42063A23AB1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A5F1573-991C-9B40-AD8B-682DBEA4798D}" type="datetime1">
              <a:rPr lang="de-DE" smtClean="0"/>
              <a:t>19.12.24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28DD736-BA3D-8473-E1A6-44D97A0BE3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08216" y="6372518"/>
            <a:ext cx="9408831" cy="214552"/>
          </a:xfrm>
        </p:spPr>
        <p:txBody>
          <a:bodyPr/>
          <a:lstStyle/>
          <a:p>
            <a:r>
              <a:rPr lang="de-DE" dirty="0"/>
              <a:t>JW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C026D7F-0D29-D1E5-4004-0F954554FF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JSON Web Toke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5B005D5-8DAA-084D-1FC8-D5F29276C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CFDFCC3-8B40-4EE5-B231-005F2F1C6A68}" type="slidenum">
              <a:rPr lang="de-DE" smtClean="0"/>
              <a:pPr/>
              <a:t>15</a:t>
            </a:fld>
            <a:endParaRPr lang="de-DE"/>
          </a:p>
        </p:txBody>
      </p:sp>
      <p:pic>
        <p:nvPicPr>
          <p:cNvPr id="10" name="Picture 9" descr="A screenshot of a computer&#10;&#10;Description automatically generated">
            <a:extLst>
              <a:ext uri="{FF2B5EF4-FFF2-40B4-BE49-F238E27FC236}">
                <a16:creationId xmlns:a16="http://schemas.microsoft.com/office/drawing/2014/main" id="{ABB63784-D0F3-2E34-C77A-35143DF0760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66" r="3649" b="9770"/>
          <a:stretch/>
        </p:blipFill>
        <p:spPr>
          <a:xfrm>
            <a:off x="959373" y="3434556"/>
            <a:ext cx="2956560" cy="181466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C020DBD-5EA8-C5E1-4524-3D26A022F5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80875" y="1301118"/>
            <a:ext cx="5050903" cy="1363744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0ACE0AF2-A8C3-FD4F-8E96-7D3F5BE3A89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62101" y="3431777"/>
            <a:ext cx="2824480" cy="182022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50D2395C-25A3-6115-35FD-40BBB5B1AC7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32750" y="3417427"/>
            <a:ext cx="2984297" cy="1831794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606871859"/>
      </p:ext>
    </p:extLst>
  </p:cSld>
  <p:clrMapOvr>
    <a:masterClrMapping/>
  </p:clrMapOvr>
  <p:transition>
    <p:split orient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BD5691-29C0-F552-9C4F-AE44A91C6D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2E0B42C-FB50-D6E6-2B13-7E5FA3C8E1B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A51BE5C-7194-8B43-929A-93F6846C8656}" type="datetime1">
              <a:rPr lang="de-DE" smtClean="0"/>
              <a:t>19.12.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F512511-DDE9-6345-07F9-E1A69F2544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B1D1F23-F407-BB1E-18DF-4388BA5666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CFDFCC3-8B40-4EE5-B231-005F2F1C6A68}" type="slidenum">
              <a:rPr lang="de-DE" smtClean="0"/>
              <a:pPr/>
              <a:t>16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82B5C38-1A84-CB43-091C-9A8EE1C196B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06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E62CDD3C-FFC9-75A8-133E-A344B4BDA9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1200" y="3242605"/>
            <a:ext cx="10820860" cy="1407664"/>
          </a:xfrm>
        </p:spPr>
        <p:txBody>
          <a:bodyPr/>
          <a:lstStyle/>
          <a:p>
            <a:r>
              <a:rPr lang="de-DE" dirty="0"/>
              <a:t>Einloggen- und </a:t>
            </a:r>
            <a:br>
              <a:rPr lang="de-DE" dirty="0"/>
            </a:br>
            <a:r>
              <a:rPr lang="de-DE" dirty="0"/>
              <a:t>Registrierungsprozess</a:t>
            </a:r>
          </a:p>
        </p:txBody>
      </p:sp>
    </p:spTree>
    <p:extLst>
      <p:ext uri="{BB962C8B-B14F-4D97-AF65-F5344CB8AC3E}">
        <p14:creationId xmlns:p14="http://schemas.microsoft.com/office/powerpoint/2010/main" val="1531459920"/>
      </p:ext>
    </p:extLst>
  </p:cSld>
  <p:clrMapOvr>
    <a:masterClrMapping/>
  </p:clrMapOvr>
  <p:transition>
    <p:split orient="vert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E03ED8-CB1E-CCE3-CC15-D8530E51E7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5025EE6-AA2C-C81C-ACB8-719D42947C7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A5F1573-991C-9B40-AD8B-682DBEA4798D}" type="datetime1">
              <a:rPr lang="de-DE" smtClean="0"/>
              <a:t>19.12.24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12C15C4-0ED0-2645-8917-4B1E781BD2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08216" y="6372518"/>
            <a:ext cx="9408831" cy="214552"/>
          </a:xfrm>
        </p:spPr>
        <p:txBody>
          <a:bodyPr/>
          <a:lstStyle/>
          <a:p>
            <a:r>
              <a:rPr lang="de-DE" dirty="0"/>
              <a:t>Einloggen- und Registrierungsprozes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A33CBA-86A6-D2A3-D534-8A5FE6099C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CFDFCC3-8B40-4EE5-B231-005F2F1C6A68}" type="slidenum">
              <a:rPr lang="de-DE" smtClean="0"/>
              <a:pPr/>
              <a:t>17</a:t>
            </a:fld>
            <a:endParaRPr lang="de-DE"/>
          </a:p>
        </p:txBody>
      </p:sp>
      <p:pic>
        <p:nvPicPr>
          <p:cNvPr id="13" name="Picture 12" descr="A diagram of a computer program&#10;&#10;Description automatically generated">
            <a:extLst>
              <a:ext uri="{FF2B5EF4-FFF2-40B4-BE49-F238E27FC236}">
                <a16:creationId xmlns:a16="http://schemas.microsoft.com/office/drawing/2014/main" id="{2B948A51-73BF-A974-1AA7-45C52D4878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8216" y="260648"/>
            <a:ext cx="8376610" cy="6017853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71D449D5-FBA6-6003-D0EB-DE1D392D0193}"/>
              </a:ext>
            </a:extLst>
          </p:cNvPr>
          <p:cNvSpPr txBox="1"/>
          <p:nvPr/>
        </p:nvSpPr>
        <p:spPr bwMode="gray">
          <a:xfrm>
            <a:off x="11571890" y="364709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indent="-285750" algn="l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DE" sz="1600" dirty="0" err="1"/>
          </a:p>
        </p:txBody>
      </p:sp>
    </p:spTree>
    <p:extLst>
      <p:ext uri="{BB962C8B-B14F-4D97-AF65-F5344CB8AC3E}">
        <p14:creationId xmlns:p14="http://schemas.microsoft.com/office/powerpoint/2010/main" val="1234363655"/>
      </p:ext>
    </p:extLst>
  </p:cSld>
  <p:clrMapOvr>
    <a:masterClrMapping/>
  </p:clrMapOvr>
  <p:transition>
    <p:split orient="vert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E8888D-D820-6605-DDF0-AC2A1D9AD6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E2E28CA-87BF-9CBD-B4CE-517B2BBF61A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A51BE5C-7194-8B43-929A-93F6846C8656}" type="datetime1">
              <a:rPr lang="de-DE" smtClean="0"/>
              <a:t>19.12.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D3E1453-7827-E0CE-0B32-6AAFBC388A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CF1CF0CF-D5CF-4FE8-414C-B759CFCA6B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CFDFCC3-8B40-4EE5-B231-005F2F1C6A68}" type="slidenum">
              <a:rPr lang="de-DE" smtClean="0"/>
              <a:pPr/>
              <a:t>18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BB3B4D8-06CB-617B-C8EB-05D5F3C4188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07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88F02E2C-B72D-F7EC-63A1-F0C0AB39DC6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1200" y="3242605"/>
            <a:ext cx="10820860" cy="1407664"/>
          </a:xfrm>
        </p:spPr>
        <p:txBody>
          <a:bodyPr/>
          <a:lstStyle/>
          <a:p>
            <a:r>
              <a:rPr lang="de-DE" dirty="0"/>
              <a:t>Live Demo</a:t>
            </a:r>
          </a:p>
        </p:txBody>
      </p:sp>
    </p:spTree>
    <p:extLst>
      <p:ext uri="{BB962C8B-B14F-4D97-AF65-F5344CB8AC3E}">
        <p14:creationId xmlns:p14="http://schemas.microsoft.com/office/powerpoint/2010/main" val="1100930077"/>
      </p:ext>
    </p:extLst>
  </p:cSld>
  <p:clrMapOvr>
    <a:masterClrMapping/>
  </p:clrMapOvr>
  <p:transition>
    <p:split orient="vert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8B97296-05B8-0A5D-022D-AFB42777FDD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343472" y="6381328"/>
            <a:ext cx="766235" cy="216024"/>
          </a:xfrm>
        </p:spPr>
        <p:txBody>
          <a:bodyPr/>
          <a:lstStyle/>
          <a:p>
            <a:fld id="{F08E3D4D-E49B-2B45-A5B3-E465558AF30A}" type="datetime1">
              <a:rPr lang="de-DE" smtClean="0"/>
              <a:t>19.12.24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C853B4D-841F-EE13-8845-06FFC4E7FC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81225" y="6381328"/>
            <a:ext cx="9200835" cy="214552"/>
          </a:xfrm>
        </p:spPr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645F55-FBB0-D53C-F634-31CB3B2A1B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CFDFCC3-8B40-4EE5-B231-005F2F1C6A68}" type="slidenum">
              <a:rPr lang="de-DE" smtClean="0"/>
              <a:pPr/>
              <a:t>19</a:t>
            </a:fld>
            <a:endParaRPr lang="de-DE"/>
          </a:p>
        </p:txBody>
      </p:sp>
      <p:pic>
        <p:nvPicPr>
          <p:cNvPr id="12" name="Bildplatzhalter 11">
            <a:extLst>
              <a:ext uri="{FF2B5EF4-FFF2-40B4-BE49-F238E27FC236}">
                <a16:creationId xmlns:a16="http://schemas.microsoft.com/office/drawing/2014/main" id="{BC652C25-F876-FB15-F3DC-F53DF96687A5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32" r="3132"/>
          <a:stretch/>
        </p:blipFill>
        <p:spPr>
          <a:xfrm>
            <a:off x="191345" y="188640"/>
            <a:ext cx="11809312" cy="6480720"/>
          </a:xfr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239440E2-28BA-3826-867C-0497360351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978711" y="324817"/>
            <a:ext cx="803098" cy="211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0093308"/>
      </p:ext>
    </p:extLst>
  </p:cSld>
  <p:clrMapOvr>
    <a:masterClrMapping/>
  </p:clrMapOvr>
  <p:transition>
    <p:split orient="vert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207EB5AA-A21A-140D-CF90-DDDB5A94E3F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222672" y="1556001"/>
            <a:ext cx="8424863" cy="4400947"/>
          </a:xfrm>
        </p:spPr>
        <p:txBody>
          <a:bodyPr/>
          <a:lstStyle/>
          <a:p>
            <a:pPr marL="342900" indent="-342900">
              <a:buFont typeface="Courier New" panose="02070309020205020404" pitchFamily="49" charset="0"/>
              <a:buChar char="o"/>
            </a:pPr>
            <a:r>
              <a:rPr lang="de-DE" sz="1800" dirty="0"/>
              <a:t>Einführung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de-DE" sz="1800" dirty="0"/>
              <a:t>Programmiersprachen und Technologien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de-DE" sz="1800" dirty="0"/>
              <a:t>Spring Boot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de-DE" sz="1800" dirty="0"/>
              <a:t>Spring Security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de-DE" sz="1800" dirty="0"/>
              <a:t>JSON-Web-Token (JWT)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de-DE" sz="1800" dirty="0"/>
              <a:t>Einloggen- und Registerprozess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de-DE" sz="1800" dirty="0"/>
              <a:t>Live Demo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de-DE" sz="1800" dirty="0"/>
              <a:t>Fazit</a:t>
            </a:r>
          </a:p>
          <a:p>
            <a:pPr>
              <a:buFontTx/>
              <a:buChar char="-"/>
            </a:pPr>
            <a:endParaRPr lang="de-DE" sz="1800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D9FB65BC-CB9F-BA99-91E3-D01E069A47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773163"/>
            <a:ext cx="11376025" cy="648072"/>
          </a:xfrm>
        </p:spPr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5644115-3043-A438-B81C-626917F734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CFDFCC3-8B40-4EE5-B231-005F2F1C6A68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A15B940-F147-2A24-88A9-DBE098A1826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7B3C1C1-C88F-FF40-A435-5598C4820D26}" type="datetime1">
              <a:rPr lang="de-DE" smtClean="0"/>
              <a:t>19.12.24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1276BFB-B1BB-F6C8-6ED5-8FF7D01FEA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21024" y="6381328"/>
            <a:ext cx="9408831" cy="214552"/>
          </a:xfrm>
        </p:spPr>
        <p:txBody>
          <a:bodyPr/>
          <a:lstStyle/>
          <a:p>
            <a:r>
              <a:rPr lang="de-DE" dirty="0"/>
              <a:t>Nesser-Agenda</a:t>
            </a:r>
          </a:p>
        </p:txBody>
      </p:sp>
    </p:spTree>
    <p:extLst>
      <p:ext uri="{BB962C8B-B14F-4D97-AF65-F5344CB8AC3E}">
        <p14:creationId xmlns:p14="http://schemas.microsoft.com/office/powerpoint/2010/main" val="3535002698"/>
      </p:ext>
    </p:extLst>
  </p:cSld>
  <p:clrMapOvr>
    <a:masterClrMapping/>
  </p:clrMapOvr>
  <p:transition>
    <p:split orient="vert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08595A0-3C29-DDA8-3656-059A629CD0E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343472" y="6381328"/>
            <a:ext cx="766235" cy="216024"/>
          </a:xfrm>
        </p:spPr>
        <p:txBody>
          <a:bodyPr/>
          <a:lstStyle/>
          <a:p>
            <a:fld id="{31197418-A83C-FF4B-8B55-724CD320C59B}" type="datetime1">
              <a:rPr lang="de-DE" smtClean="0"/>
              <a:t>19.12.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365826D-522F-0818-7499-B15F0340F3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81225" y="6381328"/>
            <a:ext cx="9200835" cy="214552"/>
          </a:xfrm>
        </p:spPr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ED97716D-5AEF-8152-91AE-349C572920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4013" y="6381328"/>
            <a:ext cx="360000" cy="216000"/>
          </a:xfrm>
        </p:spPr>
        <p:txBody>
          <a:bodyPr/>
          <a:lstStyle/>
          <a:p>
            <a:fld id="{8CFDFCC3-8B40-4EE5-B231-005F2F1C6A68}" type="slidenum">
              <a:rPr lang="de-DE" smtClean="0"/>
              <a:pPr/>
              <a:t>20</a:t>
            </a:fld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6445358-0FF2-CCFB-DB5E-8FDA5BAF63B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Für Fragen stehen</a:t>
            </a:r>
            <a:br>
              <a:rPr lang="de-DE" dirty="0"/>
            </a:br>
            <a:r>
              <a:rPr lang="de-DE" dirty="0"/>
              <a:t>wir gerne zur</a:t>
            </a:r>
            <a:br>
              <a:rPr lang="de-DE" dirty="0"/>
            </a:br>
            <a:r>
              <a:rPr lang="de-DE" dirty="0"/>
              <a:t>Verfügung</a:t>
            </a:r>
          </a:p>
        </p:txBody>
      </p:sp>
    </p:spTree>
    <p:extLst>
      <p:ext uri="{BB962C8B-B14F-4D97-AF65-F5344CB8AC3E}">
        <p14:creationId xmlns:p14="http://schemas.microsoft.com/office/powerpoint/2010/main" val="2750792065"/>
      </p:ext>
    </p:extLst>
  </p:cSld>
  <p:clrMapOvr>
    <a:masterClrMapping/>
  </p:clrMapOvr>
  <p:transition>
    <p:split orient="vert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08595A0-3C29-DDA8-3656-059A629CD0E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A51BE5C-7194-8B43-929A-93F6846C8656}" type="datetime1">
              <a:rPr lang="de-DE" smtClean="0"/>
              <a:t>19.12.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365826D-522F-0818-7499-B15F0340F3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ED97716D-5AEF-8152-91AE-349C572920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CFDFCC3-8B40-4EE5-B231-005F2F1C6A68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1ACCD01-8C09-6D78-7800-8F3123A9EBC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01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F0B41579-EEB1-5EBE-E9BD-DEB319AE984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863" y="2708487"/>
            <a:ext cx="10820860" cy="1441026"/>
          </a:xfrm>
        </p:spPr>
        <p:txBody>
          <a:bodyPr/>
          <a:lstStyle/>
          <a:p>
            <a:r>
              <a:rPr lang="de-DE" dirty="0"/>
              <a:t>Einführung</a:t>
            </a:r>
          </a:p>
        </p:txBody>
      </p:sp>
    </p:spTree>
    <p:extLst>
      <p:ext uri="{BB962C8B-B14F-4D97-AF65-F5344CB8AC3E}">
        <p14:creationId xmlns:p14="http://schemas.microsoft.com/office/powerpoint/2010/main" val="3630827908"/>
      </p:ext>
    </p:extLst>
  </p:cSld>
  <p:clrMapOvr>
    <a:masterClrMapping/>
  </p:clrMapOvr>
  <p:transition>
    <p:split orient="vert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F1D03F-E6BF-8E26-A428-00877241EA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95EDE8B-11A5-8525-4F0F-D833117A254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A51BE5C-7194-8B43-929A-93F6846C8656}" type="datetime1">
              <a:rPr lang="de-DE" smtClean="0"/>
              <a:t>19.12.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C404123-DEC4-5DC1-B6D6-34FC953239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CEC7798-C6BE-F1C2-9DA4-43809ADEFB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CFDFCC3-8B40-4EE5-B231-005F2F1C6A68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2734CA1-49A9-5031-124A-CAF71F231E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02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B63D9AA9-98D5-62B6-9936-43D123D04F7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863" y="2907526"/>
            <a:ext cx="10820860" cy="2062529"/>
          </a:xfrm>
        </p:spPr>
        <p:txBody>
          <a:bodyPr/>
          <a:lstStyle/>
          <a:p>
            <a:r>
              <a:rPr lang="de-DE" dirty="0"/>
              <a:t>Programmiersprachen</a:t>
            </a:r>
            <a:br>
              <a:rPr lang="de-DE" dirty="0"/>
            </a:br>
            <a:r>
              <a:rPr lang="de-DE" dirty="0"/>
              <a:t>und Technologien</a:t>
            </a:r>
          </a:p>
        </p:txBody>
      </p:sp>
    </p:spTree>
    <p:extLst>
      <p:ext uri="{BB962C8B-B14F-4D97-AF65-F5344CB8AC3E}">
        <p14:creationId xmlns:p14="http://schemas.microsoft.com/office/powerpoint/2010/main" val="3911289470"/>
      </p:ext>
    </p:extLst>
  </p:cSld>
  <p:clrMapOvr>
    <a:masterClrMapping/>
  </p:clrMapOvr>
  <p:transition>
    <p:split orient="vert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8B97296-05B8-0A5D-022D-AFB42777FDD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A5F1573-991C-9B40-AD8B-682DBEA4798D}" type="datetime1">
              <a:rPr lang="de-DE" smtClean="0"/>
              <a:t>19.12.24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C853B4D-841F-EE13-8845-06FFC4E7FC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08216" y="6372518"/>
            <a:ext cx="9408831" cy="214552"/>
          </a:xfrm>
        </p:spPr>
        <p:txBody>
          <a:bodyPr/>
          <a:lstStyle/>
          <a:p>
            <a:r>
              <a:rPr lang="de-DE" dirty="0"/>
              <a:t>Programmiersprachen und Technologi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6F14835-3C67-D164-33B0-C1CCD1356B5C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sz="2000" dirty="0"/>
              <a:t>Frontend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DE" sz="2000" dirty="0">
                <a:solidFill>
                  <a:schemeClr val="tx1"/>
                </a:solidFill>
              </a:rPr>
              <a:t>HTML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DE" sz="2000" dirty="0">
                <a:solidFill>
                  <a:schemeClr val="tx1"/>
                </a:solidFill>
              </a:rPr>
              <a:t>CS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DE" sz="2000" dirty="0">
                <a:solidFill>
                  <a:schemeClr val="tx1"/>
                </a:solidFill>
              </a:rPr>
              <a:t>JavaScript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B8F001CD-235D-6872-8E00-5D86C7BD2190}"/>
              </a:ext>
            </a:extLst>
          </p:cNvPr>
          <p:cNvSpPr>
            <a:spLocks noGrp="1"/>
          </p:cNvSpPr>
          <p:nvPr>
            <p:ph sz="half" idx="18"/>
          </p:nvPr>
        </p:nvSpPr>
        <p:spPr/>
        <p:txBody>
          <a:bodyPr/>
          <a:lstStyle/>
          <a:p>
            <a:r>
              <a:rPr lang="de-DE" sz="2000" dirty="0"/>
              <a:t>Backend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DE" sz="2000" dirty="0">
                <a:solidFill>
                  <a:schemeClr val="tx1"/>
                </a:solidFill>
              </a:rPr>
              <a:t>Java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DE" sz="2000" dirty="0">
                <a:solidFill>
                  <a:schemeClr val="tx1"/>
                </a:solidFill>
              </a:rPr>
              <a:t>Spring Boot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DE" sz="2000" dirty="0">
                <a:solidFill>
                  <a:schemeClr val="tx1"/>
                </a:solidFill>
              </a:rPr>
              <a:t>PostgreSQL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68A02F0-85F5-6F23-1D8D-DCC4049113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grammiersprachen und Technologi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645F55-FBB0-D53C-F634-31CB3B2A1B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CFDFCC3-8B40-4EE5-B231-005F2F1C6A68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26832149"/>
      </p:ext>
    </p:extLst>
  </p:cSld>
  <p:clrMapOvr>
    <a:masterClrMapping/>
  </p:clrMapOvr>
  <p:transition>
    <p:split orient="vert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192FCD-9D36-2FD3-A573-F4B4E0FAB2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336C57C-D09A-D371-4B42-91E2AEB0962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A51BE5C-7194-8B43-929A-93F6846C8656}" type="datetime1">
              <a:rPr lang="de-DE" smtClean="0"/>
              <a:t>19.12.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B6A4972-B62E-AE9C-B617-80E7685529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A7DB161-661B-C182-327E-C4B3BE2726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CFDFCC3-8B40-4EE5-B231-005F2F1C6A68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AE9EE85-B9E6-8E89-FC72-6302641F01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03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CE944E4F-426A-E863-84C9-EF3D6147D44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863" y="3088994"/>
            <a:ext cx="10820860" cy="1040850"/>
          </a:xfrm>
        </p:spPr>
        <p:txBody>
          <a:bodyPr/>
          <a:lstStyle/>
          <a:p>
            <a:r>
              <a:rPr lang="de-DE" dirty="0"/>
              <a:t>Spring Boot</a:t>
            </a:r>
          </a:p>
        </p:txBody>
      </p:sp>
    </p:spTree>
    <p:extLst>
      <p:ext uri="{BB962C8B-B14F-4D97-AF65-F5344CB8AC3E}">
        <p14:creationId xmlns:p14="http://schemas.microsoft.com/office/powerpoint/2010/main" val="329663875"/>
      </p:ext>
    </p:extLst>
  </p:cSld>
  <p:clrMapOvr>
    <a:masterClrMapping/>
  </p:clrMapOvr>
  <p:transition>
    <p:split orient="vert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DBDC66-0A45-1EF2-4219-37747B0B6D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5FE934D-FEC7-2F16-AF81-C26CBDBFA2E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A51BE5C-7194-8B43-929A-93F6846C8656}" type="datetime1">
              <a:rPr lang="de-DE" smtClean="0"/>
              <a:t>19.12.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523C42C-2CB6-515B-D658-EDDBE98849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8FCA1A3-5C61-8791-191D-71991473C1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CFDFCC3-8B40-4EE5-B231-005F2F1C6A68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20E47BA-21BA-D2C3-CF3E-F09B1E269C0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04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00DD566D-F766-046B-60F4-289E416B85C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863" y="3088994"/>
            <a:ext cx="10820860" cy="1040850"/>
          </a:xfrm>
        </p:spPr>
        <p:txBody>
          <a:bodyPr/>
          <a:lstStyle/>
          <a:p>
            <a:r>
              <a:rPr lang="de-DE" dirty="0"/>
              <a:t>Spring Security</a:t>
            </a:r>
          </a:p>
        </p:txBody>
      </p:sp>
    </p:spTree>
    <p:extLst>
      <p:ext uri="{BB962C8B-B14F-4D97-AF65-F5344CB8AC3E}">
        <p14:creationId xmlns:p14="http://schemas.microsoft.com/office/powerpoint/2010/main" val="4202574821"/>
      </p:ext>
    </p:extLst>
  </p:cSld>
  <p:clrMapOvr>
    <a:masterClrMapping/>
  </p:clrMapOvr>
  <p:transition>
    <p:split orient="vert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4BED57-6408-9622-CAE0-D9D4C413F6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7E84728-9821-26A6-30CF-400E4210F5E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A5F1573-991C-9B40-AD8B-682DBEA4798D}" type="datetime1">
              <a:rPr lang="de-DE" smtClean="0"/>
              <a:t>19.12.24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C1DE1EB-2B96-27D7-93ED-7E356877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08216" y="6372518"/>
            <a:ext cx="9408831" cy="214552"/>
          </a:xfrm>
        </p:spPr>
        <p:txBody>
          <a:bodyPr/>
          <a:lstStyle/>
          <a:p>
            <a:r>
              <a:rPr lang="de-DE" dirty="0"/>
              <a:t>Spring Security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27E0F2F-C648-E7FF-1467-ACBFEB812A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pring Security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1E9F75A-2C9F-3425-A76A-F31CDCBD77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CFDFCC3-8B40-4EE5-B231-005F2F1C6A68}" type="slidenum">
              <a:rPr lang="de-DE" smtClean="0"/>
              <a:pPr/>
              <a:t>8</a:t>
            </a:fld>
            <a:endParaRPr lang="de-DE"/>
          </a:p>
        </p:txBody>
      </p:sp>
      <p:pic>
        <p:nvPicPr>
          <p:cNvPr id="13" name="Picture 12" descr="A blue and white computer screen with a gear&#10;&#10;Description automatically generated">
            <a:extLst>
              <a:ext uri="{FF2B5EF4-FFF2-40B4-BE49-F238E27FC236}">
                <a16:creationId xmlns:a16="http://schemas.microsoft.com/office/drawing/2014/main" id="{CC627732-71F8-4D6D-BB1C-9D13F75EC24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3811" y="2123899"/>
            <a:ext cx="2610202" cy="2610202"/>
          </a:xfrm>
          <a:prstGeom prst="rect">
            <a:avLst/>
          </a:prstGeom>
        </p:spPr>
      </p:pic>
      <p:pic>
        <p:nvPicPr>
          <p:cNvPr id="15" name="Picture 14" descr="A cartoon of a person wearing a hood and sunglasses&#10;&#10;Description automatically generated">
            <a:extLst>
              <a:ext uri="{FF2B5EF4-FFF2-40B4-BE49-F238E27FC236}">
                <a16:creationId xmlns:a16="http://schemas.microsoft.com/office/drawing/2014/main" id="{ECA46481-6110-6E33-95D4-A6C48F8AB72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293" y="1973868"/>
            <a:ext cx="2484189" cy="2484189"/>
          </a:xfrm>
          <a:prstGeom prst="rect">
            <a:avLst/>
          </a:prstGeom>
        </p:spPr>
      </p:pic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984087CA-43AF-850C-C288-3961168173AC}"/>
              </a:ext>
            </a:extLst>
          </p:cNvPr>
          <p:cNvCxnSpPr>
            <a:cxnSpLocks/>
          </p:cNvCxnSpPr>
          <p:nvPr/>
        </p:nvCxnSpPr>
        <p:spPr bwMode="gray">
          <a:xfrm>
            <a:off x="3809160" y="3215962"/>
            <a:ext cx="4572416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26EFD36B-5757-9F3C-C0BC-CB3202801469}"/>
              </a:ext>
            </a:extLst>
          </p:cNvPr>
          <p:cNvCxnSpPr>
            <a:cxnSpLocks/>
          </p:cNvCxnSpPr>
          <p:nvPr/>
        </p:nvCxnSpPr>
        <p:spPr bwMode="gray">
          <a:xfrm flipH="1">
            <a:off x="3809160" y="3866303"/>
            <a:ext cx="4572416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4250228"/>
      </p:ext>
    </p:extLst>
  </p:cSld>
  <p:clrMapOvr>
    <a:masterClrMapping/>
  </p:clrMapOvr>
  <p:transition>
    <p:split orient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B00EFC0-BC79-AE08-95FC-C0B36B6678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4A4A61E-77EF-B202-6891-085AB261E25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A5F1573-991C-9B40-AD8B-682DBEA4798D}" type="datetime1">
              <a:rPr lang="de-DE" smtClean="0"/>
              <a:t>19.12.24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B537565-DC50-AE85-108F-21E7B661ED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08216" y="6372518"/>
            <a:ext cx="9408831" cy="214552"/>
          </a:xfrm>
        </p:spPr>
        <p:txBody>
          <a:bodyPr/>
          <a:lstStyle/>
          <a:p>
            <a:r>
              <a:rPr lang="de-DE" dirty="0"/>
              <a:t>Spring Security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9C17A8E1-22CB-B7F3-5627-DCF39FD721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pring Security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0CB7C65-F8A0-D02A-E0AA-1DDB40A4CC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CFDFCC3-8B40-4EE5-B231-005F2F1C6A68}" type="slidenum">
              <a:rPr lang="de-DE" smtClean="0"/>
              <a:pPr/>
              <a:t>9</a:t>
            </a:fld>
            <a:endParaRPr lang="de-DE"/>
          </a:p>
        </p:txBody>
      </p:sp>
      <p:pic>
        <p:nvPicPr>
          <p:cNvPr id="13" name="Picture 12" descr="A blue and white computer screen with a gear&#10;&#10;Description automatically generated">
            <a:extLst>
              <a:ext uri="{FF2B5EF4-FFF2-40B4-BE49-F238E27FC236}">
                <a16:creationId xmlns:a16="http://schemas.microsoft.com/office/drawing/2014/main" id="{DCFDD9F1-7F39-22D4-FB26-D25B1923AB6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77785" y="2123899"/>
            <a:ext cx="2610202" cy="2610202"/>
          </a:xfrm>
          <a:prstGeom prst="rect">
            <a:avLst/>
          </a:prstGeom>
        </p:spPr>
      </p:pic>
      <p:pic>
        <p:nvPicPr>
          <p:cNvPr id="15" name="Picture 14" descr="A cartoon of a person wearing a hood and sunglasses&#10;&#10;Description automatically generated">
            <a:extLst>
              <a:ext uri="{FF2B5EF4-FFF2-40B4-BE49-F238E27FC236}">
                <a16:creationId xmlns:a16="http://schemas.microsoft.com/office/drawing/2014/main" id="{0E47490F-3A87-AC16-7A8D-74AB6321D2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013" y="2123899"/>
            <a:ext cx="2484189" cy="2484189"/>
          </a:xfrm>
          <a:prstGeom prst="rect">
            <a:avLst/>
          </a:prstGeom>
        </p:spPr>
      </p:pic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0ABA8054-54C1-FE27-E5D0-DBE51479E146}"/>
              </a:ext>
            </a:extLst>
          </p:cNvPr>
          <p:cNvSpPr/>
          <p:nvPr/>
        </p:nvSpPr>
        <p:spPr bwMode="gray">
          <a:xfrm>
            <a:off x="4400159" y="1777162"/>
            <a:ext cx="688427" cy="2837389"/>
          </a:xfrm>
          <a:prstGeom prst="round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1400" dirty="0">
                <a:solidFill>
                  <a:schemeClr val="tx1"/>
                </a:solidFill>
              </a:rPr>
              <a:t>Filter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8E32119D-B46B-B84C-0BD3-E6B087180C2F}"/>
              </a:ext>
            </a:extLst>
          </p:cNvPr>
          <p:cNvSpPr/>
          <p:nvPr/>
        </p:nvSpPr>
        <p:spPr bwMode="gray">
          <a:xfrm>
            <a:off x="5193690" y="1777161"/>
            <a:ext cx="688427" cy="2837389"/>
          </a:xfrm>
          <a:prstGeom prst="round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1400" dirty="0">
                <a:solidFill>
                  <a:schemeClr val="tx1"/>
                </a:solidFill>
              </a:rPr>
              <a:t>Filter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E1629B7C-A536-6213-B153-6804482F86A7}"/>
              </a:ext>
            </a:extLst>
          </p:cNvPr>
          <p:cNvSpPr/>
          <p:nvPr/>
        </p:nvSpPr>
        <p:spPr bwMode="gray">
          <a:xfrm>
            <a:off x="6006665" y="1770699"/>
            <a:ext cx="688427" cy="2837389"/>
          </a:xfrm>
          <a:prstGeom prst="round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1400" dirty="0">
                <a:solidFill>
                  <a:schemeClr val="tx1"/>
                </a:solidFill>
              </a:rPr>
              <a:t>Filter</a:t>
            </a: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AF7478A4-D496-8C62-F803-329A39174889}"/>
              </a:ext>
            </a:extLst>
          </p:cNvPr>
          <p:cNvSpPr/>
          <p:nvPr/>
        </p:nvSpPr>
        <p:spPr bwMode="gray">
          <a:xfrm>
            <a:off x="6819640" y="1770699"/>
            <a:ext cx="688427" cy="2837389"/>
          </a:xfrm>
          <a:prstGeom prst="round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1400" dirty="0">
                <a:solidFill>
                  <a:schemeClr val="tx1"/>
                </a:solidFill>
              </a:rPr>
              <a:t>Filter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61C48FDC-8520-86CE-525C-40C64663D73D}"/>
              </a:ext>
            </a:extLst>
          </p:cNvPr>
          <p:cNvCxnSpPr/>
          <p:nvPr/>
        </p:nvCxnSpPr>
        <p:spPr bwMode="gray">
          <a:xfrm>
            <a:off x="3195148" y="3618187"/>
            <a:ext cx="5623034" cy="0"/>
          </a:xfrm>
          <a:prstGeom prst="straightConnector1">
            <a:avLst/>
          </a:prstGeom>
          <a:ln w="571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3739046"/>
      </p:ext>
    </p:extLst>
  </p:cSld>
  <p:clrMapOvr>
    <a:masterClrMapping/>
  </p:clrMapOvr>
  <p:transition>
    <p:split orient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DO_REDO_REVISION" val="0"/>
  <p:tag name="DEFAULTLANGUAGEID" val="1031"/>
  <p:tag name="VCT_SHOW_CA" val="False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chwarz_Digits">
  <a:themeElements>
    <a:clrScheme name="Schwarz_Digits">
      <a:dk1>
        <a:srgbClr val="000000"/>
      </a:dk1>
      <a:lt1>
        <a:sysClr val="window" lastClr="FFFFFF"/>
      </a:lt1>
      <a:dk2>
        <a:srgbClr val="0A1E2D"/>
      </a:dk2>
      <a:lt2>
        <a:srgbClr val="EDEDED"/>
      </a:lt2>
      <a:accent1>
        <a:srgbClr val="00C3CD"/>
      </a:accent1>
      <a:accent2>
        <a:srgbClr val="EDEDED"/>
      </a:accent2>
      <a:accent3>
        <a:srgbClr val="0A1E2D"/>
      </a:accent3>
      <a:accent4>
        <a:srgbClr val="008CCD"/>
      </a:accent4>
      <a:accent5>
        <a:srgbClr val="F07D00"/>
      </a:accent5>
      <a:accent6>
        <a:srgbClr val="00A8B7"/>
      </a:accent6>
      <a:hlink>
        <a:srgbClr val="00F5FF"/>
      </a:hlink>
      <a:folHlink>
        <a:srgbClr val="00919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 marL="285750" indent="-285750" algn="l">
          <a:spcAft>
            <a:spcPts val="600"/>
          </a:spcAft>
          <a:buClr>
            <a:schemeClr val="accent1"/>
          </a:buClr>
          <a:buFont typeface="Wingdings" panose="05000000000000000000" pitchFamily="2" charset="2"/>
          <a:buChar char="§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230928_SIT_Schwarz_IT_Master.potx" id="{9BCDAB04-03A5-4AA1-BFA6-DA5A7D5C73A1}" vid="{26BBFACA-4259-4026-9CC6-D7A35BFC5DC0}"/>
    </a:ext>
  </a:extLst>
</a:theme>
</file>

<file path=ppt/theme/theme2.xml><?xml version="1.0" encoding="utf-8"?>
<a:theme xmlns:a="http://schemas.openxmlformats.org/drawingml/2006/main" name="Office">
  <a:themeElements>
    <a:clrScheme name="Schwarz Gruppe">
      <a:dk1>
        <a:srgbClr val="000000"/>
      </a:dk1>
      <a:lt1>
        <a:srgbClr val="FFFFFF"/>
      </a:lt1>
      <a:dk2>
        <a:srgbClr val="C6C6C6"/>
      </a:dk2>
      <a:lt2>
        <a:srgbClr val="EBEBEB"/>
      </a:lt2>
      <a:accent1>
        <a:srgbClr val="6E1E6E"/>
      </a:accent1>
      <a:accent2>
        <a:srgbClr val="5F7DAA"/>
      </a:accent2>
      <a:accent3>
        <a:srgbClr val="FFD746"/>
      </a:accent3>
      <a:accent4>
        <a:srgbClr val="41053C"/>
      </a:accent4>
      <a:accent5>
        <a:srgbClr val="505050"/>
      </a:accent5>
      <a:accent6>
        <a:srgbClr val="878787"/>
      </a:accent6>
      <a:hlink>
        <a:srgbClr val="6E1E6E"/>
      </a:hlink>
      <a:folHlink>
        <a:srgbClr val="8787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Schwarz Gruppe">
      <a:dk1>
        <a:srgbClr val="000000"/>
      </a:dk1>
      <a:lt1>
        <a:srgbClr val="FFFFFF"/>
      </a:lt1>
      <a:dk2>
        <a:srgbClr val="AFAFAF"/>
      </a:dk2>
      <a:lt2>
        <a:srgbClr val="EBEBEB"/>
      </a:lt2>
      <a:accent1>
        <a:srgbClr val="6E1E6E"/>
      </a:accent1>
      <a:accent2>
        <a:srgbClr val="465A78"/>
      </a:accent2>
      <a:accent3>
        <a:srgbClr val="FFD25A"/>
      </a:accent3>
      <a:accent4>
        <a:srgbClr val="4B053C"/>
      </a:accent4>
      <a:accent5>
        <a:srgbClr val="505050"/>
      </a:accent5>
      <a:accent6>
        <a:srgbClr val="878787"/>
      </a:accent6>
      <a:hlink>
        <a:srgbClr val="6E1E6E"/>
      </a:hlink>
      <a:folHlink>
        <a:srgbClr val="AFAFA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1fd920a-12d4-4a6e-a30c-82f7577a5556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2067354EB27E14281AAA3DCDF65D9F8" ma:contentTypeVersion="12" ma:contentTypeDescription="Ein neues Dokument erstellen." ma:contentTypeScope="" ma:versionID="3a399ffce423ad273284c914606dfb34">
  <xsd:schema xmlns:xsd="http://www.w3.org/2001/XMLSchema" xmlns:xs="http://www.w3.org/2001/XMLSchema" xmlns:p="http://schemas.microsoft.com/office/2006/metadata/properties" xmlns:ns2="b1fd920a-12d4-4a6e-a30c-82f7577a5556" xmlns:ns3="deffc477-2685-438e-96d6-088f4279817c" targetNamespace="http://schemas.microsoft.com/office/2006/metadata/properties" ma:root="true" ma:fieldsID="4b3bd7286c6ac53e5321820d0bd5b2f2" ns2:_="" ns3:_="">
    <xsd:import namespace="b1fd920a-12d4-4a6e-a30c-82f7577a5556"/>
    <xsd:import namespace="deffc477-2685-438e-96d6-088f4279817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2:MediaServiceObjectDetectorVersion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fd920a-12d4-4a6e-a30c-82f7577a555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Bildmarkierungen" ma:readOnly="false" ma:fieldId="{5cf76f15-5ced-4ddc-b409-7134ff3c332f}" ma:taxonomyMulti="true" ma:sspId="116d47f0-238a-4f73-986a-f782046cdb4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effc477-2685-438e-96d6-088f4279817c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153E187-431F-414A-BA23-E95A1D4A8E8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F3BD10E-A445-4B79-8425-7E6BC305B712}">
  <ds:schemaRefs>
    <ds:schemaRef ds:uri="http://purl.org/dc/terms/"/>
    <ds:schemaRef ds:uri="b1fd920a-12d4-4a6e-a30c-82f7577a5556"/>
    <ds:schemaRef ds:uri="http://purl.org/dc/elements/1.1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schemas.openxmlformats.org/package/2006/metadata/core-properties"/>
    <ds:schemaRef ds:uri="deffc477-2685-438e-96d6-088f4279817c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AF53AC7C-EB8B-47EC-B0DF-3107526FC9B2}">
  <ds:schemaRefs>
    <ds:schemaRef ds:uri="b1fd920a-12d4-4a6e-a30c-82f7577a5556"/>
    <ds:schemaRef ds:uri="deffc477-2685-438e-96d6-088f4279817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60b37cb2-a399-4c31-a85a-411fc8b623d3}" enabled="1" method="Standard" siteId="{d04f4717-5a6e-4b98-b3f9-6918e0385f4c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230928_SIT_Schwarz_IT_Master</Template>
  <TotalTime>476</TotalTime>
  <Words>192</Words>
  <Application>Microsoft Macintosh PowerPoint</Application>
  <PresentationFormat>Widescreen</PresentationFormat>
  <Paragraphs>115</Paragraphs>
  <Slides>2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6" baseType="lpstr">
      <vt:lpstr>Arial</vt:lpstr>
      <vt:lpstr>Courier New</vt:lpstr>
      <vt:lpstr>Symbol</vt:lpstr>
      <vt:lpstr>Wingdings</vt:lpstr>
      <vt:lpstr>Schwarz_Digits</vt:lpstr>
      <vt:lpstr>think-cell Folie</vt:lpstr>
      <vt:lpstr>Nesser-Online-Shop</vt:lpstr>
      <vt:lpstr>Agenda</vt:lpstr>
      <vt:lpstr>Einführung</vt:lpstr>
      <vt:lpstr>Programmiersprachen und Technologien</vt:lpstr>
      <vt:lpstr>Programmiersprachen und Technologien</vt:lpstr>
      <vt:lpstr>Spring Boot</vt:lpstr>
      <vt:lpstr>Spring Security</vt:lpstr>
      <vt:lpstr>Spring Security</vt:lpstr>
      <vt:lpstr>Spring Security</vt:lpstr>
      <vt:lpstr>Spring Security</vt:lpstr>
      <vt:lpstr>JWT</vt:lpstr>
      <vt:lpstr>Session-basierte Authentifizierung</vt:lpstr>
      <vt:lpstr>Session-basierte Authentifizierung</vt:lpstr>
      <vt:lpstr>Token-basierte Authentifizierung</vt:lpstr>
      <vt:lpstr>JSON Web Token</vt:lpstr>
      <vt:lpstr>Einloggen- und  Registrierungsprozess</vt:lpstr>
      <vt:lpstr>PowerPoint Presentation</vt:lpstr>
      <vt:lpstr>Live Demo</vt:lpstr>
      <vt:lpstr>PowerPoint Presentation</vt:lpstr>
      <vt:lpstr>Für Fragen stehen wir gerne zur Verfügung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äsentationstitel zusätzliche Zeile</dc:title>
  <dc:creator>Ioana Martha Craioveanu</dc:creator>
  <dc:description>Optimiert für Office 2016</dc:description>
  <cp:lastModifiedBy>Assaad Naes</cp:lastModifiedBy>
  <cp:revision>15</cp:revision>
  <dcterms:created xsi:type="dcterms:W3CDTF">2023-09-29T09:57:02Z</dcterms:created>
  <dcterms:modified xsi:type="dcterms:W3CDTF">2024-12-19T19:54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2067354EB27E14281AAA3DCDF65D9F8</vt:lpwstr>
  </property>
</Properties>
</file>